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9"/>
  </p:notesMasterIdLst>
  <p:sldIdLst>
    <p:sldId id="268" r:id="rId2"/>
    <p:sldId id="291" r:id="rId3"/>
    <p:sldId id="297" r:id="rId4"/>
    <p:sldId id="317" r:id="rId5"/>
    <p:sldId id="298" r:id="rId6"/>
    <p:sldId id="300" r:id="rId7"/>
    <p:sldId id="303" r:id="rId8"/>
    <p:sldId id="299" r:id="rId9"/>
    <p:sldId id="301" r:id="rId10"/>
    <p:sldId id="302" r:id="rId11"/>
    <p:sldId id="304" r:id="rId12"/>
    <p:sldId id="305" r:id="rId13"/>
    <p:sldId id="306" r:id="rId14"/>
    <p:sldId id="318" r:id="rId15"/>
    <p:sldId id="309" r:id="rId16"/>
    <p:sldId id="322" r:id="rId17"/>
    <p:sldId id="310" r:id="rId18"/>
    <p:sldId id="319" r:id="rId19"/>
    <p:sldId id="320" r:id="rId20"/>
    <p:sldId id="307" r:id="rId21"/>
    <p:sldId id="313" r:id="rId22"/>
    <p:sldId id="321" r:id="rId23"/>
    <p:sldId id="312" r:id="rId24"/>
    <p:sldId id="314" r:id="rId25"/>
    <p:sldId id="315" r:id="rId26"/>
    <p:sldId id="316" r:id="rId27"/>
    <p:sldId id="267" r:id="rId28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A4CA5440-4614-4F22-BA68-77BB4C6739D5}">
          <p14:sldIdLst>
            <p14:sldId id="268"/>
            <p14:sldId id="291"/>
            <p14:sldId id="297"/>
            <p14:sldId id="317"/>
            <p14:sldId id="298"/>
            <p14:sldId id="300"/>
            <p14:sldId id="303"/>
            <p14:sldId id="299"/>
            <p14:sldId id="301"/>
            <p14:sldId id="302"/>
            <p14:sldId id="304"/>
            <p14:sldId id="305"/>
            <p14:sldId id="306"/>
            <p14:sldId id="318"/>
            <p14:sldId id="309"/>
            <p14:sldId id="322"/>
            <p14:sldId id="310"/>
            <p14:sldId id="319"/>
            <p14:sldId id="320"/>
            <p14:sldId id="307"/>
            <p14:sldId id="313"/>
            <p14:sldId id="321"/>
            <p14:sldId id="312"/>
            <p14:sldId id="314"/>
            <p14:sldId id="315"/>
            <p14:sldId id="316"/>
            <p14:sldId id="26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1012"/>
    <a:srgbClr val="F0F0F0"/>
    <a:srgbClr val="FFFFFF"/>
    <a:srgbClr val="E41212"/>
    <a:srgbClr val="F5E467"/>
    <a:srgbClr val="980C0C"/>
    <a:srgbClr val="2089D0"/>
    <a:srgbClr val="2C7CC4"/>
    <a:srgbClr val="B08E00"/>
    <a:srgbClr val="FFD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5C2B1E3-3E17-44F0-8B7A-9E0928E1AB27}" v="516" dt="2024-09-26T08:53:10.58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12" autoAdjust="0"/>
    <p:restoredTop sz="94444" autoAdjust="0"/>
  </p:normalViewPr>
  <p:slideViewPr>
    <p:cSldViewPr snapToGrid="0" showGuides="1">
      <p:cViewPr>
        <p:scale>
          <a:sx n="100" d="100"/>
          <a:sy n="100" d="100"/>
        </p:scale>
        <p:origin x="48" y="-2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35" Type="http://schemas.microsoft.com/office/2016/11/relationships/changesInfo" Target="changesInfos/changesInfo1.xml"/><Relationship Id="rId8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eorgi Ivanov" userId="7e1b55540891ebeb" providerId="LiveId" clId="{FB9747C2-E790-457A-981D-44F4F47FC074}"/>
    <pc:docChg chg="undo redo custSel addSld delSld modSld sldOrd modSection">
      <pc:chgData name="Georgi Ivanov" userId="7e1b55540891ebeb" providerId="LiveId" clId="{FB9747C2-E790-457A-981D-44F4F47FC074}" dt="2024-09-22T18:14:45.988" v="352" actId="1076"/>
      <pc:docMkLst>
        <pc:docMk/>
      </pc:docMkLst>
      <pc:sldChg chg="del">
        <pc:chgData name="Georgi Ivanov" userId="7e1b55540891ebeb" providerId="LiveId" clId="{FB9747C2-E790-457A-981D-44F4F47FC074}" dt="2024-09-22T17:46:54.525" v="2" actId="47"/>
        <pc:sldMkLst>
          <pc:docMk/>
          <pc:sldMk cId="2972571144" sldId="25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767157536" sldId="258"/>
        </pc:sldMkLst>
      </pc:sldChg>
      <pc:sldChg chg="modSp mod">
        <pc:chgData name="Georgi Ivanov" userId="7e1b55540891ebeb" providerId="LiveId" clId="{FB9747C2-E790-457A-981D-44F4F47FC074}" dt="2024-09-22T17:50:50.720" v="14" actId="20577"/>
        <pc:sldMkLst>
          <pc:docMk/>
          <pc:sldMk cId="2762696595" sldId="262"/>
        </pc:sldMkLst>
        <pc:spChg chg="mod">
          <ac:chgData name="Georgi Ivanov" userId="7e1b55540891ebeb" providerId="LiveId" clId="{FB9747C2-E790-457A-981D-44F4F47FC074}" dt="2024-09-22T17:50:50.720" v="14" actId="20577"/>
          <ac:spMkLst>
            <pc:docMk/>
            <pc:sldMk cId="2762696595" sldId="262"/>
            <ac:spMk id="2" creationId="{2A983584-8125-433F-B7FD-A6330AFCE3EC}"/>
          </ac:spMkLst>
        </pc:spChg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69339252" sldId="265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075837952" sldId="266"/>
        </pc:sldMkLst>
      </pc:sldChg>
      <pc:sldChg chg="ord">
        <pc:chgData name="Georgi Ivanov" userId="7e1b55540891ebeb" providerId="LiveId" clId="{FB9747C2-E790-457A-981D-44F4F47FC074}" dt="2024-09-22T17:47:08.800" v="6"/>
        <pc:sldMkLst>
          <pc:docMk/>
          <pc:sldMk cId="405277657" sldId="267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1297189949" sldId="269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2888177540" sldId="270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496456422" sldId="271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2279238405" sldId="272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64263881" sldId="273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1793408295" sldId="274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2200953458" sldId="275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1694337955" sldId="276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940358387" sldId="278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914192429" sldId="283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726790018" sldId="284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526873030" sldId="28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039416329" sldId="289"/>
        </pc:sldMkLst>
      </pc:sldChg>
      <pc:sldChg chg="ord">
        <pc:chgData name="Georgi Ivanov" userId="7e1b55540891ebeb" providerId="LiveId" clId="{FB9747C2-E790-457A-981D-44F4F47FC074}" dt="2024-09-22T17:47:00.564" v="4"/>
        <pc:sldMkLst>
          <pc:docMk/>
          <pc:sldMk cId="2511800391" sldId="291"/>
        </pc:sldMkLst>
      </pc:sldChg>
      <pc:sldChg chg="modSp mod">
        <pc:chgData name="Georgi Ivanov" userId="7e1b55540891ebeb" providerId="LiveId" clId="{FB9747C2-E790-457A-981D-44F4F47FC074}" dt="2024-09-22T18:06:50.352" v="293" actId="167"/>
        <pc:sldMkLst>
          <pc:docMk/>
          <pc:sldMk cId="1695139514" sldId="294"/>
        </pc:sldMkLst>
        <pc:picChg chg="mod ord">
          <ac:chgData name="Georgi Ivanov" userId="7e1b55540891ebeb" providerId="LiveId" clId="{FB9747C2-E790-457A-981D-44F4F47FC074}" dt="2024-09-22T18:06:50.352" v="293" actId="167"/>
          <ac:picMkLst>
            <pc:docMk/>
            <pc:sldMk cId="1695139514" sldId="294"/>
            <ac:picMk id="2" creationId="{B6A6D7E3-94FE-75D8-6E85-663E85C1C7FA}"/>
          </ac:picMkLst>
        </pc:picChg>
      </pc:sldChg>
      <pc:sldChg chg="addSp delSp modSp add mod">
        <pc:chgData name="Georgi Ivanov" userId="7e1b55540891ebeb" providerId="LiveId" clId="{FB9747C2-E790-457A-981D-44F4F47FC074}" dt="2024-09-22T18:14:45.988" v="352" actId="1076"/>
        <pc:sldMkLst>
          <pc:docMk/>
          <pc:sldMk cId="1032704305" sldId="297"/>
        </pc:sldMkLst>
        <pc:spChg chg="del">
          <ac:chgData name="Georgi Ivanov" userId="7e1b55540891ebeb" providerId="LiveId" clId="{FB9747C2-E790-457A-981D-44F4F47FC074}" dt="2024-09-22T17:52:30.139" v="31" actId="1032"/>
          <ac:spMkLst>
            <pc:docMk/>
            <pc:sldMk cId="1032704305" sldId="297"/>
            <ac:spMk id="3" creationId="{DECCB398-1B0C-6E46-E515-15AA78A5E5D7}"/>
          </ac:spMkLst>
        </pc:spChg>
        <pc:spChg chg="mod">
          <ac:chgData name="Georgi Ivanov" userId="7e1b55540891ebeb" providerId="LiveId" clId="{FB9747C2-E790-457A-981D-44F4F47FC074}" dt="2024-09-22T18:11:04.215" v="320"/>
          <ac:spMkLst>
            <pc:docMk/>
            <pc:sldMk cId="1032704305" sldId="297"/>
            <ac:spMk id="6" creationId="{FA25092D-D0DF-934E-313B-E754E86D4D36}"/>
          </ac:spMkLst>
        </pc:spChg>
        <pc:spChg chg="mod">
          <ac:chgData name="Georgi Ivanov" userId="7e1b55540891ebeb" providerId="LiveId" clId="{FB9747C2-E790-457A-981D-44F4F47FC074}" dt="2024-09-22T18:11:04.215" v="320"/>
          <ac:spMkLst>
            <pc:docMk/>
            <pc:sldMk cId="1032704305" sldId="297"/>
            <ac:spMk id="7" creationId="{97B3DF85-3EE0-1BB6-5DCE-94D2AA7F01E8}"/>
          </ac:spMkLst>
        </pc:spChg>
        <pc:spChg chg="mod">
          <ac:chgData name="Georgi Ivanov" userId="7e1b55540891ebeb" providerId="LiveId" clId="{FB9747C2-E790-457A-981D-44F4F47FC074}" dt="2024-09-22T18:11:30.011" v="324"/>
          <ac:spMkLst>
            <pc:docMk/>
            <pc:sldMk cId="1032704305" sldId="297"/>
            <ac:spMk id="10" creationId="{FA25092D-D0DF-934E-313B-E754E86D4D36}"/>
          </ac:spMkLst>
        </pc:spChg>
        <pc:spChg chg="mod">
          <ac:chgData name="Georgi Ivanov" userId="7e1b55540891ebeb" providerId="LiveId" clId="{FB9747C2-E790-457A-981D-44F4F47FC074}" dt="2024-09-22T18:11:30.011" v="324"/>
          <ac:spMkLst>
            <pc:docMk/>
            <pc:sldMk cId="1032704305" sldId="297"/>
            <ac:spMk id="11" creationId="{97B3DF85-3EE0-1BB6-5DCE-94D2AA7F01E8}"/>
          </ac:spMkLst>
        </pc:spChg>
        <pc:spChg chg="add mod">
          <ac:chgData name="Georgi Ivanov" userId="7e1b55540891ebeb" providerId="LiveId" clId="{FB9747C2-E790-457A-981D-44F4F47FC074}" dt="2024-09-22T18:14:13.136" v="346"/>
          <ac:spMkLst>
            <pc:docMk/>
            <pc:sldMk cId="1032704305" sldId="297"/>
            <ac:spMk id="13" creationId="{478944CB-2793-597E-F81D-CCEB0EE141BA}"/>
          </ac:spMkLst>
        </pc:spChg>
        <pc:spChg chg="add 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14" creationId="{26E775A1-4B8E-07F7-4E98-5DCED5B03C52}"/>
          </ac:spMkLst>
        </pc:spChg>
        <pc:spChg chg="mod">
          <ac:chgData name="Georgi Ivanov" userId="7e1b55540891ebeb" providerId="LiveId" clId="{FB9747C2-E790-457A-981D-44F4F47FC074}" dt="2024-09-22T18:14:43.193" v="351" actId="14100"/>
          <ac:spMkLst>
            <pc:docMk/>
            <pc:sldMk cId="1032704305" sldId="297"/>
            <ac:spMk id="17" creationId="{10A6EFB4-EB70-F5E7-71F2-602F7ADFAED0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0" creationId="{C87E9EF9-D2AC-BBA2-8F3F-627DAFEA4325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1" creationId="{7E563941-AEF1-263A-29F9-4BD83D62DF14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2" creationId="{97B7D2A6-F712-93C4-A396-6C6897C36A03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3" creationId="{9AAB2837-0538-4CA8-7281-362CD01B3E0E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4" creationId="{E554DD74-B78B-FB28-F57B-11C7275B070D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5" creationId="{5472C4A9-3314-DEF2-7678-C15121211BF3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6" creationId="{A8B23927-3E0C-BA90-3B85-9DC543F031BB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7" creationId="{E8C34FE9-9932-4526-AB09-8642334A0E35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8" creationId="{72049148-93AD-E35E-29F8-793A216AF92F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9" creationId="{A2DACD6A-9953-7E8C-B27A-C43A9A68F322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0" creationId="{9AB09F63-EEA3-6C18-FE5C-B01E5B8E67E1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1" creationId="{1C717480-1896-E268-B2FE-918018F16CEE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2" creationId="{3AF85582-ADA3-5AE1-12E3-D2DE3999319C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3" creationId="{7AA6BC08-875F-68CA-FBAA-4628E02CF5BD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4" creationId="{F6C51207-39C7-1B17-2E5B-B4A5BF5BEA17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5" creationId="{DA631E0E-3EB6-3022-A547-27A8E9E08148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6" creationId="{05369B66-5C24-D858-CD2B-1C1146DE3703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7" creationId="{3994FAE4-6FCC-35BD-05A7-2DDC50DA0634}"/>
          </ac:spMkLst>
        </pc:spChg>
        <pc:grpChg chg="add del mod">
          <ac:chgData name="Georgi Ivanov" userId="7e1b55540891ebeb" providerId="LiveId" clId="{FB9747C2-E790-457A-981D-44F4F47FC074}" dt="2024-09-22T18:11:09.187" v="322" actId="21"/>
          <ac:grpSpMkLst>
            <pc:docMk/>
            <pc:sldMk cId="1032704305" sldId="297"/>
            <ac:grpSpMk id="5" creationId="{9C2F4D9B-ADF3-DF3A-E112-A9E30F8567FC}"/>
          </ac:grpSpMkLst>
        </pc:grpChg>
        <pc:grpChg chg="add del mod">
          <ac:chgData name="Georgi Ivanov" userId="7e1b55540891ebeb" providerId="LiveId" clId="{FB9747C2-E790-457A-981D-44F4F47FC074}" dt="2024-09-22T18:11:52.954" v="331" actId="21"/>
          <ac:grpSpMkLst>
            <pc:docMk/>
            <pc:sldMk cId="1032704305" sldId="297"/>
            <ac:grpSpMk id="9" creationId="{9C2F4D9B-ADF3-DF3A-E112-A9E30F8567FC}"/>
          </ac:grpSpMkLst>
        </pc:grpChg>
        <pc:grpChg chg="add mod">
          <ac:chgData name="Georgi Ivanov" userId="7e1b55540891ebeb" providerId="LiveId" clId="{FB9747C2-E790-457A-981D-44F4F47FC074}" dt="2024-09-22T18:14:45.988" v="352" actId="1076"/>
          <ac:grpSpMkLst>
            <pc:docMk/>
            <pc:sldMk cId="1032704305" sldId="297"/>
            <ac:grpSpMk id="15" creationId="{450915E9-3C95-311B-BFC4-43F8C1D6A9AA}"/>
          </ac:grpSpMkLst>
        </pc:grpChg>
        <pc:grpChg chg="add mod">
          <ac:chgData name="Georgi Ivanov" userId="7e1b55540891ebeb" providerId="LiveId" clId="{FB9747C2-E790-457A-981D-44F4F47FC074}" dt="2024-09-22T18:14:45.988" v="352" actId="1076"/>
          <ac:grpSpMkLst>
            <pc:docMk/>
            <pc:sldMk cId="1032704305" sldId="297"/>
            <ac:grpSpMk id="38" creationId="{8C2D5996-3B9C-5C0A-3E22-785B111BDDDE}"/>
          </ac:grpSpMkLst>
        </pc:grpChg>
        <pc:graphicFrameChg chg="add mod modGraphic">
          <ac:chgData name="Georgi Ivanov" userId="7e1b55540891ebeb" providerId="LiveId" clId="{FB9747C2-E790-457A-981D-44F4F47FC074}" dt="2024-09-22T18:13:10.755" v="344"/>
          <ac:graphicFrameMkLst>
            <pc:docMk/>
            <pc:sldMk cId="1032704305" sldId="297"/>
            <ac:graphicFrameMk id="2" creationId="{16286F52-393A-56B8-9D59-8DF52C2CAA10}"/>
          </ac:graphicFrameMkLst>
        </pc:graphicFrameChg>
        <pc:picChg chg="add del mod">
          <ac:chgData name="Georgi Ivanov" userId="7e1b55540891ebeb" providerId="LiveId" clId="{FB9747C2-E790-457A-981D-44F4F47FC074}" dt="2024-09-22T18:11:09.187" v="322" actId="21"/>
          <ac:picMkLst>
            <pc:docMk/>
            <pc:sldMk cId="1032704305" sldId="297"/>
            <ac:picMk id="8" creationId="{46CDE0A9-8289-2401-EED3-4A7A169BD774}"/>
          </ac:picMkLst>
        </pc:picChg>
        <pc:picChg chg="add mod">
          <ac:chgData name="Georgi Ivanov" userId="7e1b55540891ebeb" providerId="LiveId" clId="{FB9747C2-E790-457A-981D-44F4F47FC074}" dt="2024-09-22T18:13:33.956" v="345" actId="1076"/>
          <ac:picMkLst>
            <pc:docMk/>
            <pc:sldMk cId="1032704305" sldId="297"/>
            <ac:picMk id="12" creationId="{46CDE0A9-8289-2401-EED3-4A7A169BD774}"/>
          </ac:picMkLst>
        </pc:picChg>
      </pc:sldChg>
      <pc:sldChg chg="modSp add del mod">
        <pc:chgData name="Georgi Ivanov" userId="7e1b55540891ebeb" providerId="LiveId" clId="{FB9747C2-E790-457A-981D-44F4F47FC074}" dt="2024-09-22T17:51:07.598" v="23" actId="47"/>
        <pc:sldMkLst>
          <pc:docMk/>
          <pc:sldMk cId="1081392437" sldId="297"/>
        </pc:sldMkLst>
        <pc:spChg chg="mod">
          <ac:chgData name="Georgi Ivanov" userId="7e1b55540891ebeb" providerId="LiveId" clId="{FB9747C2-E790-457A-981D-44F4F47FC074}" dt="2024-09-22T17:51:05.652" v="22" actId="20577"/>
          <ac:spMkLst>
            <pc:docMk/>
            <pc:sldMk cId="1081392437" sldId="297"/>
            <ac:spMk id="2" creationId="{2A983584-8125-433F-B7FD-A6330AFCE3EC}"/>
          </ac:spMkLst>
        </pc:spChg>
      </pc:sldChg>
      <pc:sldChg chg="delSp add mod">
        <pc:chgData name="Georgi Ivanov" userId="7e1b55540891ebeb" providerId="LiveId" clId="{FB9747C2-E790-457A-981D-44F4F47FC074}" dt="2024-09-22T18:06:57.782" v="295" actId="478"/>
        <pc:sldMkLst>
          <pc:docMk/>
          <pc:sldMk cId="1139476994" sldId="298"/>
        </pc:sldMkLst>
        <pc:picChg chg="del">
          <ac:chgData name="Georgi Ivanov" userId="7e1b55540891ebeb" providerId="LiveId" clId="{FB9747C2-E790-457A-981D-44F4F47FC074}" dt="2024-09-22T18:06:57.782" v="295" actId="478"/>
          <ac:picMkLst>
            <pc:docMk/>
            <pc:sldMk cId="1139476994" sldId="298"/>
            <ac:picMk id="2" creationId="{B6A6D7E3-94FE-75D8-6E85-663E85C1C7FA}"/>
          </ac:picMkLst>
        </pc:picChg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177802230" sldId="300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393883262" sldId="301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375824723" sldId="302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455894287" sldId="303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045036923" sldId="304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787138908" sldId="305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150186008" sldId="30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464503787" sldId="307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517399652" sldId="308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843314910" sldId="309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824750760" sldId="310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10778241" sldId="311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830417110" sldId="312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304406426" sldId="313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957644220" sldId="314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412054983" sldId="315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022607342" sldId="31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871289655" sldId="317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774343773" sldId="318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036617515" sldId="319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915610029" sldId="320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234220110" sldId="321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388848189" sldId="322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684043044" sldId="323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092860904" sldId="324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590452929" sldId="325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34452738" sldId="32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886274948" sldId="327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636128076" sldId="328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467638620" sldId="329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667743894" sldId="330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155726156" sldId="331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010541507" sldId="332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946740345" sldId="333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249620584" sldId="334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3606481872" sldId="335"/>
        </pc:sldMkLst>
      </pc:sldChg>
    </pc:docChg>
  </pc:docChgLst>
  <pc:docChgLst>
    <pc:chgData name="Georgi Ivanov" userId="7e1b55540891ebeb" providerId="LiveId" clId="{D5C2B1E3-3E17-44F0-8B7A-9E0928E1AB27}"/>
    <pc:docChg chg="undo redo custSel addSld delSld modSld sldOrd modSection">
      <pc:chgData name="Georgi Ivanov" userId="7e1b55540891ebeb" providerId="LiveId" clId="{D5C2B1E3-3E17-44F0-8B7A-9E0928E1AB27}" dt="2024-09-26T08:59:20.980" v="3424" actId="6549"/>
      <pc:docMkLst>
        <pc:docMk/>
      </pc:docMkLst>
      <pc:sldChg chg="addSp delSp modSp mod">
        <pc:chgData name="Georgi Ivanov" userId="7e1b55540891ebeb" providerId="LiveId" clId="{D5C2B1E3-3E17-44F0-8B7A-9E0928E1AB27}" dt="2024-09-26T08:19:18.550" v="2820" actId="20577"/>
        <pc:sldMkLst>
          <pc:docMk/>
          <pc:sldMk cId="1032704305" sldId="297"/>
        </pc:sldMkLst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5" creationId="{24B492A0-FD3F-36B9-39FB-67932D92E4BB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6" creationId="{F5E25F00-7B88-4DED-3AD7-F7C8FEF6E175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7" creationId="{0889F8CF-C4A4-F347-CAD2-E045D4E08DE9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8" creationId="{D9AC259B-73CF-AC99-8D38-6C29A6410F85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9" creationId="{97207C70-82F6-E7BE-81E9-D5F1544DF4D9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10" creationId="{6035C80B-BE96-168B-CD4F-DDF9B33498B2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11" creationId="{42291865-0F0A-1DB5-DF94-357D3D7BA399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13" creationId="{424F7536-4E75-00F5-DCF3-5C88A07E4A67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39" creationId="{B7BE7A15-B099-E9DD-6C36-D39D63554798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40" creationId="{8EFFD26A-90D6-29C4-492C-2BBE2E4B6FA2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41" creationId="{4B761115-8A5E-CE73-1794-43E3C3D62A6A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42" creationId="{EA02C5EE-F28C-444B-3297-08893F053F4F}"/>
          </ac:spMkLst>
        </pc:spChg>
        <pc:spChg chg="add del mod">
          <ac:chgData name="Georgi Ivanov" userId="7e1b55540891ebeb" providerId="LiveId" clId="{D5C2B1E3-3E17-44F0-8B7A-9E0928E1AB27}" dt="2024-09-26T07:35:24.344" v="1972" actId="478"/>
          <ac:spMkLst>
            <pc:docMk/>
            <pc:sldMk cId="1032704305" sldId="297"/>
            <ac:spMk id="43" creationId="{76E0A628-9FE2-3267-58F9-7CAD79A33E1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49" creationId="{2C1B3D7B-655C-505B-3771-ED294195F01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0" creationId="{F04A52E3-A26A-118B-1DBD-B025CF962455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1" creationId="{9E0D1AFF-091E-9ABF-C7DD-1FB6D01CB6E3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2" creationId="{6FE07C4D-4D77-1E85-08EF-AE874B918CC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3" creationId="{D9495E1A-C122-5208-8D86-47B49CD3B9F0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4" creationId="{9605AEAF-B92B-3A1E-59D2-76D1DE634A8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5" creationId="{3D40BEAA-E280-4FD1-A9B7-B1661EFD9A7A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6" creationId="{E3002C47-369A-2AB7-FD92-7796E9EF68E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7" creationId="{3C96B218-236B-F0B7-5537-2EAA3E50E99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8" creationId="{11FA44DF-68C3-09CE-795D-B2C199072D3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9" creationId="{775590A0-60A0-618F-F223-B3E9FADF021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60" creationId="{1C716079-E631-5A18-E442-2E2E46652EA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61" creationId="{42B14076-34DC-30DD-14BA-7F2BEAAC600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62" creationId="{8F529D3A-31B5-AB98-C792-A60676C7F75A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63" creationId="{E492A5FF-BCAC-3079-908F-98975E27253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2" creationId="{D87342C4-037A-2923-035C-3070793724F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3" creationId="{055DFD79-41B6-35D8-7DCF-69F07815C4C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5" creationId="{A072A0F2-15BA-1D76-1F10-856C6193F65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6" creationId="{9C02ABDF-D333-078C-1F41-924F324B4265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7" creationId="{0A7E4875-BFEC-95B3-447D-240124CDDE89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8" creationId="{D9192205-23A9-6951-2B85-C2D03FF0789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9" creationId="{1507A870-749C-DE2C-78B0-BA65FE5C2409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0" creationId="{8F5FB2C2-68D2-D646-C8D0-9BF734FC1BE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1" creationId="{B6E83213-DB16-C652-BCC7-F9E732F24626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2" creationId="{C9801307-6036-E600-B765-A79961F60BA6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3" creationId="{6FD047F2-9050-18F0-DFA4-4ECCB68B02F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4" creationId="{4A0F0789-0468-2FD8-18CD-EA2C1625896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5" creationId="{BCFD928A-D42A-6BF0-E4F7-077A875156FA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6" creationId="{729AF252-A3E8-D9ED-25D9-E08951C9DDF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7" creationId="{86E79531-D9D8-4BCC-5CDD-4576ABD91C7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0" creationId="{51273389-246B-3F5C-25DC-61AB9EE5222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1" creationId="{E5DCA617-CA05-B5E0-E349-5E88964898D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2" creationId="{1DFD0E52-DA59-3F35-6D89-5BD184CE391B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3" creationId="{5BD69C82-C238-767C-7B14-9D619CC0D703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4" creationId="{4EA4B070-0DDD-13AC-0779-50F204795248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5" creationId="{72CD3FD2-53CA-AE41-F3CE-29CCE6F4B3EE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6" creationId="{A20D6D87-0CA6-7795-2EAF-84EAF849822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7" creationId="{BE3459AC-11C8-CCF1-D407-13D721F17D5B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8" creationId="{BA5D6B3B-56EE-87F5-27A8-5AC5305A0CD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9" creationId="{869B85B7-A156-DAA2-5383-8BA8BA534F22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0" creationId="{DF0C8752-3A85-509A-85A9-1154FA48B5E0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1" creationId="{3C37A72B-C3E4-DFD3-3C3E-AA88D340D0E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2" creationId="{05776527-7BEE-54C3-457F-1D6B18AF4840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3" creationId="{CB6E4526-9976-242D-3FAB-EB4D8ABB3EB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4" creationId="{CFB00F70-DD62-D18B-4DD6-0C25EB71A60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5" creationId="{CFA93255-ABB8-B932-8726-428DCB41C35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6" creationId="{3C266DF4-E367-275E-3F5F-FACFC66E90A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7" creationId="{57F307B4-355A-870E-D099-D57D4F7C563A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8" creationId="{97498E17-E377-6C56-8FE8-03BF7870A15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9" creationId="{2FA34EB4-F057-71E3-E1B2-AFD912FDBCC6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0" creationId="{8EF9AB3F-BA78-3432-15DD-FFE30E0130A8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1" creationId="{E4A8921D-EF58-7F52-5711-DC7183C71A1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2" creationId="{02FE5C66-2807-AFB9-B27B-23729B6EE489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3" creationId="{C0A8FEAA-1726-3746-9BA7-766EAD0C75B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4" creationId="{C5331B6A-0773-631B-5017-4933DD0BA26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5" creationId="{EE86B0F8-C0F0-0A72-8562-6DC6CE57AC1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6" creationId="{E1316FE5-2968-5B5D-53B9-B96F926DF48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7" creationId="{9F28CA38-E999-5626-C78D-04585F44A7D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8" creationId="{FA2FA893-FF7C-7AD0-80E2-A2F92E7CA9E6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9" creationId="{277B852D-45F5-068E-00A7-5986E1A579A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5" creationId="{551BF171-59C0-C1F6-6BF4-B8F27446263C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6" creationId="{C8479226-552F-F061-ABDE-C9E866686F1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7" creationId="{821832C9-B754-FB7C-A3E5-34C66C1814A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8" creationId="{81EF5056-4121-55AC-36B1-9D91E105AE72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9" creationId="{069409FA-754F-527B-842F-087A6CA664FE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0" creationId="{7A42ECA8-C23C-4482-92A3-248B4331F3E3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1" creationId="{21717CEA-FAF8-C763-C374-163BF2AE2B4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2" creationId="{71FA8084-9455-C8DA-7FA3-B90B8ADACE3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3" creationId="{6633F4E6-9EB9-48CA-FD0C-1901B8F6F89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4" creationId="{06297EC2-2853-F232-228F-0F30EACCCA1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5" creationId="{14C55BD8-663C-A37C-9408-8E0AA36708C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6" creationId="{9AFE6CEE-D9FC-A4A6-B3E1-CE4551C8DFC0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7" creationId="{451A224B-5D8D-C0E7-D454-D7F800368FA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8" creationId="{A17B595B-AC01-A47E-5ACE-6C7BE119CB3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9" creationId="{B74AF1B6-435C-0FE8-254B-37440D95351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0" creationId="{B5A63D59-2BD5-4198-9B0E-A8C76E34E81A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1" creationId="{DDDEA0B9-8F20-D825-3457-20CDC2278742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2" creationId="{7C2F4AAE-0BE0-D25B-F014-FA1F75B3A403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3" creationId="{93D24373-CF19-F91C-0EFF-9BDDAEB3B60E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4" creationId="{B0AE914A-F03F-6CA4-E48C-23F6BC9EB5BB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5" creationId="{C9F95B4D-1591-E291-0369-8176A5DA9AAD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6" creationId="{43CD338B-C136-CF84-2D08-45ADD8083F7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7" creationId="{259293A3-DD92-2533-1812-84D4239ECE42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8" creationId="{5D3E985D-B381-B6AA-FD04-C3B8D47DEB2E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9" creationId="{FD60DE0F-D7CC-37DB-B83E-E312B3C95C0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0" creationId="{23767E40-0BCD-A118-B6F1-3584C1D59E9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1" creationId="{7F2ED990-8612-E0C8-53A7-CDB3D3204D06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2" creationId="{24828674-5384-EC8D-2B24-DBB29C7DFAAB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3" creationId="{E1D4AD92-2554-68C7-7505-D2361F7F460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4" creationId="{167B88E4-62ED-B48F-BE7C-141B6F986A41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7" creationId="{6FAB6C8D-9D38-E3FD-187F-A83332E84BE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8" creationId="{B3EEE24B-34C9-94CA-03BD-1CB71200D6C6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9" creationId="{BE695471-1D6A-F755-2575-7766E051F6D0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0" creationId="{049A131A-6936-21D2-389A-B8F7F11739C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1" creationId="{17FF785A-7B81-64A3-C5B7-7B98EB44BE4A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2" creationId="{219ABB09-6ECB-F37C-2A97-FB346F859EC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3" creationId="{B6EA70EC-7BAC-101A-3B50-ECCC6FB667F1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4" creationId="{00D236E3-6F57-33D6-40E8-8A3504DA2C3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5" creationId="{1A5949F4-CEBC-4652-6C39-0CAD2554F145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6" creationId="{A0DA777F-EC1F-DC46-1742-A0BF60A20A1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7" creationId="{6ADF7658-1BE9-7B0A-DCF1-7CF0DD3EF1CB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8" creationId="{BE30EA58-7594-35DD-F253-864205957A30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9" creationId="{0C6B33A2-2C8C-7D63-A432-53D4745AEBAC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0" creationId="{9CB4D371-A6D5-1F91-3DB6-7A0D693EFB4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1" creationId="{93CA8641-355C-A3B1-0A9E-4CC952850454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2" creationId="{74BFB69B-7DFA-C43D-C5FA-8C4A32D657E1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3" creationId="{4CD47D3E-5EA6-20A2-749E-47CC04772D72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4" creationId="{BE8E75BD-A368-6EB4-8B39-54D32719F57C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5" creationId="{C83F3DAC-3A3F-EB9D-844F-5538490A721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6" creationId="{8E79F599-2098-96F8-C821-3B73900967A5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7" creationId="{7EEF703C-E26F-DF53-50B8-3DAD3C7ECAE4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8" creationId="{967551DD-8141-8047-97F8-81F53AADFE3D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9" creationId="{864F5D4D-1C54-2371-C49C-20B1A1837513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0" creationId="{DA6B407F-CD38-4ED6-0F84-30A2929A9DA1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1" creationId="{6CAEE2C4-E2EE-71D0-1E34-28C405E46ED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2" creationId="{FC5A0B3E-3067-6B75-F7D0-335FD4B6FDE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3" creationId="{B1CCE4CD-4258-4389-851C-3AB818ADE7A6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4" creationId="{2A530A3D-1A8D-A493-1CB7-E9400151122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5" creationId="{69D27F10-49E0-76D4-EDA4-5AC747C66175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6" creationId="{3D0B41B2-E61D-E7FE-FB3F-8351269A0304}"/>
          </ac:spMkLst>
        </pc:spChg>
        <pc:grpChg chg="add del mod">
          <ac:chgData name="Georgi Ivanov" userId="7e1b55540891ebeb" providerId="LiveId" clId="{D5C2B1E3-3E17-44F0-8B7A-9E0928E1AB27}" dt="2024-09-25T13:24:12.173" v="1516" actId="478"/>
          <ac:grpSpMkLst>
            <pc:docMk/>
            <pc:sldMk cId="1032704305" sldId="297"/>
            <ac:grpSpMk id="3" creationId="{B3D76D2B-918D-C48D-6D96-F32BA16C7C12}"/>
          </ac:grpSpMkLst>
        </pc:grpChg>
        <pc:grpChg chg="add 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4" creationId="{9B01171B-0EEB-4D5C-7476-CA8114202676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5" creationId="{E5482315-8100-CE15-DA46-23E85F8E7203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6" creationId="{69FC1C75-B77A-88C5-E28B-FEFDB863915D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7" creationId="{B906C5D9-D832-1C12-BC5C-A9CA5BE302F9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8" creationId="{C3CFF5B1-21BD-3E95-9DFD-F6F471DF6E28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3088" creationId="{EB2A2DD4-4D47-6D23-5F5D-D3799F39356B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3089" creationId="{AF2FBCBE-EA16-7E0D-4F05-7EF807C637BD}"/>
          </ac:grpSpMkLst>
        </pc:grpChg>
        <pc:grpChg chg="add mod">
          <ac:chgData name="Georgi Ivanov" userId="7e1b55540891ebeb" providerId="LiveId" clId="{D5C2B1E3-3E17-44F0-8B7A-9E0928E1AB27}" dt="2024-09-25T13:33:00.164" v="1651" actId="14100"/>
          <ac:grpSpMkLst>
            <pc:docMk/>
            <pc:sldMk cId="1032704305" sldId="297"/>
            <ac:grpSpMk id="3120" creationId="{E5B9C441-B93D-CA61-5CBA-D95F7A4B4517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21" creationId="{B34F0793-F582-7F88-5C83-6D8B990F7EC1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22" creationId="{B70033AD-FC9D-AF67-4E45-F1C2E890C5D3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23" creationId="{68CF4F81-8783-B40B-95C2-2B66745DC660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24" creationId="{ED5137E6-67ED-D52A-36ED-498A10B18152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55" creationId="{3E0CA691-7EC2-7ABF-C958-93E20ABA0B6D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56" creationId="{50D4D640-B6B5-E04D-D2C5-C16D1DCEE08D}"/>
          </ac:grpSpMkLst>
        </pc:grpChg>
        <pc:graphicFrameChg chg="mod">
          <ac:chgData name="Georgi Ivanov" userId="7e1b55540891ebeb" providerId="LiveId" clId="{D5C2B1E3-3E17-44F0-8B7A-9E0928E1AB27}" dt="2024-09-26T08:19:18.550" v="2820" actId="20577"/>
          <ac:graphicFrameMkLst>
            <pc:docMk/>
            <pc:sldMk cId="1032704305" sldId="297"/>
            <ac:graphicFrameMk id="2" creationId="{16286F52-393A-56B8-9D59-8DF52C2CAA10}"/>
          </ac:graphicFrameMkLst>
        </pc:graphicFrameChg>
        <pc:picChg chg="mod">
          <ac:chgData name="Georgi Ivanov" userId="7e1b55540891ebeb" providerId="LiveId" clId="{D5C2B1E3-3E17-44F0-8B7A-9E0928E1AB27}" dt="2024-09-24T18:42:12.208" v="107" actId="1076"/>
          <ac:picMkLst>
            <pc:docMk/>
            <pc:sldMk cId="1032704305" sldId="297"/>
            <ac:picMk id="12" creationId="{46CDE0A9-8289-2401-EED3-4A7A169BD774}"/>
          </ac:picMkLst>
        </pc:picChg>
        <pc:picChg chg="add mod">
          <ac:chgData name="Georgi Ivanov" userId="7e1b55540891ebeb" providerId="LiveId" clId="{D5C2B1E3-3E17-44F0-8B7A-9E0928E1AB27}" dt="2024-09-25T13:24:14.678" v="1517" actId="1076"/>
          <ac:picMkLst>
            <pc:docMk/>
            <pc:sldMk cId="1032704305" sldId="297"/>
            <ac:picMk id="3074" creationId="{4121E792-6E9C-7E3E-2924-F3B9F4387A67}"/>
          </ac:picMkLst>
        </pc:picChg>
      </pc:sldChg>
      <pc:sldChg chg="del">
        <pc:chgData name="Georgi Ivanov" userId="7e1b55540891ebeb" providerId="LiveId" clId="{D5C2B1E3-3E17-44F0-8B7A-9E0928E1AB27}" dt="2024-09-24T18:36:37.685" v="0" actId="47"/>
        <pc:sldMkLst>
          <pc:docMk/>
          <pc:sldMk cId="1139476994" sldId="298"/>
        </pc:sldMkLst>
      </pc:sldChg>
      <pc:sldChg chg="addSp delSp modSp add mod">
        <pc:chgData name="Georgi Ivanov" userId="7e1b55540891ebeb" providerId="LiveId" clId="{D5C2B1E3-3E17-44F0-8B7A-9E0928E1AB27}" dt="2024-09-24T18:57:07.388" v="514" actId="5793"/>
        <pc:sldMkLst>
          <pc:docMk/>
          <pc:sldMk cId="1972383463" sldId="298"/>
        </pc:sldMkLst>
        <pc:spChg chg="mod">
          <ac:chgData name="Georgi Ivanov" userId="7e1b55540891ebeb" providerId="LiveId" clId="{D5C2B1E3-3E17-44F0-8B7A-9E0928E1AB27}" dt="2024-09-24T18:39:40.140" v="79" actId="20577"/>
          <ac:spMkLst>
            <pc:docMk/>
            <pc:sldMk cId="1972383463" sldId="298"/>
            <ac:spMk id="2" creationId="{65A1F34D-EB98-4CAD-A1DE-7AC573B109A0}"/>
          </ac:spMkLst>
        </pc:spChg>
        <pc:spChg chg="add del mod">
          <ac:chgData name="Georgi Ivanov" userId="7e1b55540891ebeb" providerId="LiveId" clId="{D5C2B1E3-3E17-44F0-8B7A-9E0928E1AB27}" dt="2024-09-24T18:40:51.007" v="93" actId="478"/>
          <ac:spMkLst>
            <pc:docMk/>
            <pc:sldMk cId="1972383463" sldId="298"/>
            <ac:spMk id="3" creationId="{DF78BEF8-1AE8-0C39-D12A-C4BE103D617F}"/>
          </ac:spMkLst>
        </pc:spChg>
        <pc:spChg chg="add mod">
          <ac:chgData name="Georgi Ivanov" userId="7e1b55540891ebeb" providerId="LiveId" clId="{D5C2B1E3-3E17-44F0-8B7A-9E0928E1AB27}" dt="2024-09-24T18:57:07.388" v="514" actId="5793"/>
          <ac:spMkLst>
            <pc:docMk/>
            <pc:sldMk cId="1972383463" sldId="298"/>
            <ac:spMk id="7" creationId="{203753DF-B9CD-6766-A941-CC078E8576E8}"/>
          </ac:spMkLst>
        </pc:spChg>
        <pc:spChg chg="mod">
          <ac:chgData name="Georgi Ivanov" userId="7e1b55540891ebeb" providerId="LiveId" clId="{D5C2B1E3-3E17-44F0-8B7A-9E0928E1AB27}" dt="2024-09-24T18:57:00.894" v="510" actId="1076"/>
          <ac:spMkLst>
            <pc:docMk/>
            <pc:sldMk cId="1972383463" sldId="298"/>
            <ac:spMk id="59" creationId="{01381D6B-0A38-4E06-8506-A342F6A017DB}"/>
          </ac:spMkLst>
        </pc:spChg>
        <pc:spChg chg="mod">
          <ac:chgData name="Georgi Ivanov" userId="7e1b55540891ebeb" providerId="LiveId" clId="{D5C2B1E3-3E17-44F0-8B7A-9E0928E1AB27}" dt="2024-09-24T18:55:57.532" v="465" actId="1076"/>
          <ac:spMkLst>
            <pc:docMk/>
            <pc:sldMk cId="1972383463" sldId="298"/>
            <ac:spMk id="77" creationId="{6FF0B403-FADC-424A-A227-59D6B88F2456}"/>
          </ac:spMkLst>
        </pc:spChg>
        <pc:picChg chg="add mod">
          <ac:chgData name="Georgi Ivanov" userId="7e1b55540891ebeb" providerId="LiveId" clId="{D5C2B1E3-3E17-44F0-8B7A-9E0928E1AB27}" dt="2024-09-24T18:42:49.713" v="113" actId="1076"/>
          <ac:picMkLst>
            <pc:docMk/>
            <pc:sldMk cId="1972383463" sldId="298"/>
            <ac:picMk id="4" creationId="{A482FC57-17D3-3A23-46A2-1257FC345C5A}"/>
          </ac:picMkLst>
        </pc:picChg>
        <pc:picChg chg="del">
          <ac:chgData name="Georgi Ivanov" userId="7e1b55540891ebeb" providerId="LiveId" clId="{D5C2B1E3-3E17-44F0-8B7A-9E0928E1AB27}" dt="2024-09-24T18:42:36.498" v="111" actId="478"/>
          <ac:picMkLst>
            <pc:docMk/>
            <pc:sldMk cId="1972383463" sldId="298"/>
            <ac:picMk id="5" creationId="{8592CCF3-91E5-7807-DCC8-A2E49E6CA0ED}"/>
          </ac:picMkLst>
        </pc:picChg>
      </pc:sldChg>
      <pc:sldChg chg="addSp delSp modSp new mod">
        <pc:chgData name="Georgi Ivanov" userId="7e1b55540891ebeb" providerId="LiveId" clId="{D5C2B1E3-3E17-44F0-8B7A-9E0928E1AB27}" dt="2024-09-25T12:59:15.732" v="1114" actId="20577"/>
        <pc:sldMkLst>
          <pc:docMk/>
          <pc:sldMk cId="1322531086" sldId="299"/>
        </pc:sldMkLst>
        <pc:spChg chg="mod">
          <ac:chgData name="Georgi Ivanov" userId="7e1b55540891ebeb" providerId="LiveId" clId="{D5C2B1E3-3E17-44F0-8B7A-9E0928E1AB27}" dt="2024-09-25T12:59:15.732" v="1114" actId="20577"/>
          <ac:spMkLst>
            <pc:docMk/>
            <pc:sldMk cId="1322531086" sldId="299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4T19:06:39.782" v="639" actId="20577"/>
          <ac:spMkLst>
            <pc:docMk/>
            <pc:sldMk cId="1322531086" sldId="299"/>
            <ac:spMk id="3" creationId="{E3616238-46A4-D94F-D84B-7DE0BA6D908A}"/>
          </ac:spMkLst>
        </pc:spChg>
        <pc:spChg chg="mod">
          <ac:chgData name="Georgi Ivanov" userId="7e1b55540891ebeb" providerId="LiveId" clId="{D5C2B1E3-3E17-44F0-8B7A-9E0928E1AB27}" dt="2024-09-24T18:52:28.581" v="448" actId="12789"/>
          <ac:spMkLst>
            <pc:docMk/>
            <pc:sldMk cId="1322531086" sldId="299"/>
            <ac:spMk id="4" creationId="{E3D17250-7924-92B4-E7B0-8FEB3F9B0CAF}"/>
          </ac:spMkLst>
        </pc:spChg>
        <pc:spChg chg="add del mod">
          <ac:chgData name="Georgi Ivanov" userId="7e1b55540891ebeb" providerId="LiveId" clId="{D5C2B1E3-3E17-44F0-8B7A-9E0928E1AB27}" dt="2024-09-25T12:50:01.761" v="984" actId="21"/>
          <ac:spMkLst>
            <pc:docMk/>
            <pc:sldMk cId="1322531086" sldId="299"/>
            <ac:spMk id="5" creationId="{C2FC9430-89FA-B6F5-FF73-09BF4CD95552}"/>
          </ac:spMkLst>
        </pc:spChg>
        <pc:spChg chg="add mod">
          <ac:chgData name="Georgi Ivanov" userId="7e1b55540891ebeb" providerId="LiveId" clId="{D5C2B1E3-3E17-44F0-8B7A-9E0928E1AB27}" dt="2024-09-24T19:50:23.160" v="771" actId="1076"/>
          <ac:spMkLst>
            <pc:docMk/>
            <pc:sldMk cId="1322531086" sldId="299"/>
            <ac:spMk id="6" creationId="{E0AAB136-8414-6A21-03A5-A9548743C734}"/>
          </ac:spMkLst>
        </pc:spChg>
        <pc:spChg chg="add mod">
          <ac:chgData name="Georgi Ivanov" userId="7e1b55540891ebeb" providerId="LiveId" clId="{D5C2B1E3-3E17-44F0-8B7A-9E0928E1AB27}" dt="2024-09-24T19:33:31.025" v="734" actId="6549"/>
          <ac:spMkLst>
            <pc:docMk/>
            <pc:sldMk cId="1322531086" sldId="299"/>
            <ac:spMk id="7" creationId="{0EAB7573-B6B5-D04C-1A8F-E527D8F51F82}"/>
          </ac:spMkLst>
        </pc:spChg>
        <pc:spChg chg="add del">
          <ac:chgData name="Georgi Ivanov" userId="7e1b55540891ebeb" providerId="LiveId" clId="{D5C2B1E3-3E17-44F0-8B7A-9E0928E1AB27}" dt="2024-09-24T19:46:38.806" v="736" actId="22"/>
          <ac:spMkLst>
            <pc:docMk/>
            <pc:sldMk cId="1322531086" sldId="299"/>
            <ac:spMk id="9" creationId="{B24FD02B-4F29-0EA3-AD6C-5F417AB3B40E}"/>
          </ac:spMkLst>
        </pc:spChg>
        <pc:spChg chg="add del">
          <ac:chgData name="Georgi Ivanov" userId="7e1b55540891ebeb" providerId="LiveId" clId="{D5C2B1E3-3E17-44F0-8B7A-9E0928E1AB27}" dt="2024-09-24T19:51:22.127" v="773" actId="22"/>
          <ac:spMkLst>
            <pc:docMk/>
            <pc:sldMk cId="1322531086" sldId="299"/>
            <ac:spMk id="17" creationId="{266CA697-B432-50B5-DA45-1016A9EFCA8B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1" creationId="{DFAA174B-D86D-CB71-8474-058962143453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2" creationId="{26F7D1A0-3274-8ABA-D246-E1539E24FB34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3" creationId="{417CB08D-1D2C-CBEC-C938-11198D2988BF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4" creationId="{42BA0335-7FA1-CCF5-A811-8E2896777CB5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5" creationId="{9E14F7A9-FF4E-923B-CC01-366CF7C4F68A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6" creationId="{CD717686-6202-05FF-4B52-904115112C49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7" creationId="{8AC21C32-2DD1-16D1-1025-F2EC1C8357E1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8" creationId="{1613C157-D8CE-9749-A33E-D96220E943B3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9" creationId="{D9785239-7A2E-8D68-A9E9-070996E363ED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30" creationId="{20632001-33D8-773F-CC40-2E529DB4BBCD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31" creationId="{AC113E9B-40A8-41F9-4C4A-E3D0213A5B42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32" creationId="{BA949E1E-44DE-FF08-7484-AF6CD01B3F54}"/>
          </ac:spMkLst>
        </pc:spChg>
        <pc:spChg chg="add mod">
          <ac:chgData name="Georgi Ivanov" userId="7e1b55540891ebeb" providerId="LiveId" clId="{D5C2B1E3-3E17-44F0-8B7A-9E0928E1AB27}" dt="2024-09-24T20:05:26.341" v="807"/>
          <ac:spMkLst>
            <pc:docMk/>
            <pc:sldMk cId="1322531086" sldId="299"/>
            <ac:spMk id="33" creationId="{53478140-8BE6-5525-DF07-9358650A627B}"/>
          </ac:spMkLst>
        </pc:spChg>
        <pc:grpChg chg="add mod">
          <ac:chgData name="Georgi Ivanov" userId="7e1b55540891ebeb" providerId="LiveId" clId="{D5C2B1E3-3E17-44F0-8B7A-9E0928E1AB27}" dt="2024-09-24T19:49:32.188" v="753" actId="1076"/>
          <ac:grpSpMkLst>
            <pc:docMk/>
            <pc:sldMk cId="1322531086" sldId="299"/>
            <ac:grpSpMk id="14" creationId="{93FF40BB-26DA-E3DD-6351-24DE54E3BD81}"/>
          </ac:grpSpMkLst>
        </pc:grpChg>
        <pc:grpChg chg="add del mod">
          <ac:chgData name="Georgi Ivanov" userId="7e1b55540891ebeb" providerId="LiveId" clId="{D5C2B1E3-3E17-44F0-8B7A-9E0928E1AB27}" dt="2024-09-24T20:00:40.221" v="791" actId="478"/>
          <ac:grpSpMkLst>
            <pc:docMk/>
            <pc:sldMk cId="1322531086" sldId="299"/>
            <ac:grpSpMk id="20" creationId="{01DC1732-6B53-A4AF-3C10-E610157359A1}"/>
          </ac:grpSpMkLst>
        </pc:grpChg>
        <pc:picChg chg="add del mod">
          <ac:chgData name="Georgi Ivanov" userId="7e1b55540891ebeb" providerId="LiveId" clId="{D5C2B1E3-3E17-44F0-8B7A-9E0928E1AB27}" dt="2024-09-24T19:48:48.462" v="743" actId="478"/>
          <ac:picMkLst>
            <pc:docMk/>
            <pc:sldMk cId="1322531086" sldId="299"/>
            <ac:picMk id="11" creationId="{F0A23456-3AD1-96C9-533A-97B5E63B2EE5}"/>
          </ac:picMkLst>
        </pc:picChg>
        <pc:picChg chg="add mod">
          <ac:chgData name="Georgi Ivanov" userId="7e1b55540891ebeb" providerId="LiveId" clId="{D5C2B1E3-3E17-44F0-8B7A-9E0928E1AB27}" dt="2024-09-24T19:49:32.188" v="753" actId="1076"/>
          <ac:picMkLst>
            <pc:docMk/>
            <pc:sldMk cId="1322531086" sldId="299"/>
            <ac:picMk id="12" creationId="{219DB6DD-594A-8956-2C7D-A848844A957E}"/>
          </ac:picMkLst>
        </pc:picChg>
        <pc:picChg chg="add mod">
          <ac:chgData name="Georgi Ivanov" userId="7e1b55540891ebeb" providerId="LiveId" clId="{D5C2B1E3-3E17-44F0-8B7A-9E0928E1AB27}" dt="2024-09-24T19:49:32.188" v="753" actId="1076"/>
          <ac:picMkLst>
            <pc:docMk/>
            <pc:sldMk cId="1322531086" sldId="299"/>
            <ac:picMk id="13" creationId="{91F8EF9C-1BEE-8152-85FD-C1F244475C3E}"/>
          </ac:picMkLst>
        </pc:picChg>
        <pc:picChg chg="add mod">
          <ac:chgData name="Georgi Ivanov" userId="7e1b55540891ebeb" providerId="LiveId" clId="{D5C2B1E3-3E17-44F0-8B7A-9E0928E1AB27}" dt="2024-09-24T20:01:52.226" v="796" actId="1076"/>
          <ac:picMkLst>
            <pc:docMk/>
            <pc:sldMk cId="1322531086" sldId="299"/>
            <ac:picMk id="15" creationId="{FCC4914A-A8C0-9BC5-4089-27074B66A779}"/>
          </ac:picMkLst>
        </pc:picChg>
        <pc:picChg chg="add del mod">
          <ac:chgData name="Georgi Ivanov" userId="7e1b55540891ebeb" providerId="LiveId" clId="{D5C2B1E3-3E17-44F0-8B7A-9E0928E1AB27}" dt="2024-09-24T19:58:12.837" v="777" actId="478"/>
          <ac:picMkLst>
            <pc:docMk/>
            <pc:sldMk cId="1322531086" sldId="299"/>
            <ac:picMk id="19" creationId="{CC40F95A-8B2A-6FE9-C5F7-BF3D7CD73F0A}"/>
          </ac:picMkLst>
        </pc:picChg>
        <pc:picChg chg="add mod">
          <ac:chgData name="Georgi Ivanov" userId="7e1b55540891ebeb" providerId="LiveId" clId="{D5C2B1E3-3E17-44F0-8B7A-9E0928E1AB27}" dt="2024-09-24T20:01:39.224" v="794" actId="1076"/>
          <ac:picMkLst>
            <pc:docMk/>
            <pc:sldMk cId="1322531086" sldId="299"/>
            <ac:picMk id="1026" creationId="{1F45828B-8F5C-FF73-3C4B-A998B8DACFCB}"/>
          </ac:picMkLst>
        </pc:picChg>
        <pc:picChg chg="add mod">
          <ac:chgData name="Georgi Ivanov" userId="7e1b55540891ebeb" providerId="LiveId" clId="{D5C2B1E3-3E17-44F0-8B7A-9E0928E1AB27}" dt="2024-09-24T20:01:44.805" v="795" actId="1076"/>
          <ac:picMkLst>
            <pc:docMk/>
            <pc:sldMk cId="1322531086" sldId="299"/>
            <ac:picMk id="1028" creationId="{037AAB4F-B00B-7F7E-8EB1-FE647FD6520B}"/>
          </ac:picMkLst>
        </pc:picChg>
      </pc:sldChg>
      <pc:sldChg chg="addSp delSp modSp add mod">
        <pc:chgData name="Georgi Ivanov" userId="7e1b55540891ebeb" providerId="LiveId" clId="{D5C2B1E3-3E17-44F0-8B7A-9E0928E1AB27}" dt="2024-09-25T12:58:22.821" v="1100" actId="113"/>
        <pc:sldMkLst>
          <pc:docMk/>
          <pc:sldMk cId="2681470774" sldId="300"/>
        </pc:sldMkLst>
        <pc:spChg chg="mod">
          <ac:chgData name="Georgi Ivanov" userId="7e1b55540891ebeb" providerId="LiveId" clId="{D5C2B1E3-3E17-44F0-8B7A-9E0928E1AB27}" dt="2024-09-25T12:47:33.488" v="932" actId="20577"/>
          <ac:spMkLst>
            <pc:docMk/>
            <pc:sldMk cId="2681470774" sldId="300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5T12:58:22.821" v="1100" actId="113"/>
          <ac:spMkLst>
            <pc:docMk/>
            <pc:sldMk cId="2681470774" sldId="300"/>
            <ac:spMk id="3" creationId="{E3616238-46A4-D94F-D84B-7DE0BA6D908A}"/>
          </ac:spMkLst>
        </pc:spChg>
        <pc:spChg chg="del">
          <ac:chgData name="Georgi Ivanov" userId="7e1b55540891ebeb" providerId="LiveId" clId="{D5C2B1E3-3E17-44F0-8B7A-9E0928E1AB27}" dt="2024-09-25T12:32:48.759" v="809" actId="478"/>
          <ac:spMkLst>
            <pc:docMk/>
            <pc:sldMk cId="2681470774" sldId="300"/>
            <ac:spMk id="5" creationId="{C2FC9430-89FA-B6F5-FF73-09BF4CD95552}"/>
          </ac:spMkLst>
        </pc:spChg>
        <pc:spChg chg="del mod topLvl">
          <ac:chgData name="Georgi Ivanov" userId="7e1b55540891ebeb" providerId="LiveId" clId="{D5C2B1E3-3E17-44F0-8B7A-9E0928E1AB27}" dt="2024-09-25T12:54:47.751" v="1034" actId="478"/>
          <ac:spMkLst>
            <pc:docMk/>
            <pc:sldMk cId="2681470774" sldId="300"/>
            <ac:spMk id="6" creationId="{E0AAB136-8414-6A21-03A5-A9548743C734}"/>
          </ac:spMkLst>
        </pc:spChg>
        <pc:spChg chg="add del mod topLvl">
          <ac:chgData name="Georgi Ivanov" userId="7e1b55540891ebeb" providerId="LiveId" clId="{D5C2B1E3-3E17-44F0-8B7A-9E0928E1AB27}" dt="2024-09-25T12:54:30.323" v="1031" actId="478"/>
          <ac:spMkLst>
            <pc:docMk/>
            <pc:sldMk cId="2681470774" sldId="300"/>
            <ac:spMk id="7" creationId="{0EAB7573-B6B5-D04C-1A8F-E527D8F51F82}"/>
          </ac:spMkLst>
        </pc:spChg>
        <pc:spChg chg="add mod">
          <ac:chgData name="Georgi Ivanov" userId="7e1b55540891ebeb" providerId="LiveId" clId="{D5C2B1E3-3E17-44F0-8B7A-9E0928E1AB27}" dt="2024-09-25T12:55:46.354" v="1055" actId="1076"/>
          <ac:spMkLst>
            <pc:docMk/>
            <pc:sldMk cId="2681470774" sldId="300"/>
            <ac:spMk id="10" creationId="{39C09223-D36A-E074-1AA6-0CB54D96C302}"/>
          </ac:spMkLst>
        </pc:spChg>
        <pc:spChg chg="add mod">
          <ac:chgData name="Georgi Ivanov" userId="7e1b55540891ebeb" providerId="LiveId" clId="{D5C2B1E3-3E17-44F0-8B7A-9E0928E1AB27}" dt="2024-09-25T12:56:30.169" v="1074" actId="1076"/>
          <ac:spMkLst>
            <pc:docMk/>
            <pc:sldMk cId="2681470774" sldId="300"/>
            <ac:spMk id="11" creationId="{39CEC175-E2F9-A40F-65CB-92B68AEF21E7}"/>
          </ac:spMkLst>
        </pc:spChg>
        <pc:spChg chg="add mod">
          <ac:chgData name="Georgi Ivanov" userId="7e1b55540891ebeb" providerId="LiveId" clId="{D5C2B1E3-3E17-44F0-8B7A-9E0928E1AB27}" dt="2024-09-25T12:55:33.681" v="1052" actId="20577"/>
          <ac:spMkLst>
            <pc:docMk/>
            <pc:sldMk cId="2681470774" sldId="300"/>
            <ac:spMk id="16" creationId="{E970DDF6-1DAA-110B-AD62-F1DB1D9FB745}"/>
          </ac:spMkLst>
        </pc:spChg>
        <pc:spChg chg="add mod">
          <ac:chgData name="Georgi Ivanov" userId="7e1b55540891ebeb" providerId="LiveId" clId="{D5C2B1E3-3E17-44F0-8B7A-9E0928E1AB27}" dt="2024-09-25T12:50:16.899" v="987" actId="1076"/>
          <ac:spMkLst>
            <pc:docMk/>
            <pc:sldMk cId="2681470774" sldId="300"/>
            <ac:spMk id="18" creationId="{4804B82E-E9C1-DD3E-AEBA-9A64F4356BD5}"/>
          </ac:spMkLst>
        </pc:spChg>
        <pc:spChg chg="add mod">
          <ac:chgData name="Georgi Ivanov" userId="7e1b55540891ebeb" providerId="LiveId" clId="{D5C2B1E3-3E17-44F0-8B7A-9E0928E1AB27}" dt="2024-09-25T12:50:41.690" v="996" actId="1076"/>
          <ac:spMkLst>
            <pc:docMk/>
            <pc:sldMk cId="2681470774" sldId="300"/>
            <ac:spMk id="19" creationId="{4BBAE00B-5B22-3315-FC13-44FF9745CE42}"/>
          </ac:spMkLst>
        </pc:spChg>
        <pc:spChg chg="add del mod">
          <ac:chgData name="Georgi Ivanov" userId="7e1b55540891ebeb" providerId="LiveId" clId="{D5C2B1E3-3E17-44F0-8B7A-9E0928E1AB27}" dt="2024-09-25T12:50:25.891" v="989" actId="478"/>
          <ac:spMkLst>
            <pc:docMk/>
            <pc:sldMk cId="2681470774" sldId="300"/>
            <ac:spMk id="20" creationId="{865F0DF2-FD5A-9B32-0D1E-9A7609A07D44}"/>
          </ac:spMkLst>
        </pc:spChg>
        <pc:spChg chg="add del mod">
          <ac:chgData name="Georgi Ivanov" userId="7e1b55540891ebeb" providerId="LiveId" clId="{D5C2B1E3-3E17-44F0-8B7A-9E0928E1AB27}" dt="2024-09-25T12:50:27.666" v="990" actId="478"/>
          <ac:spMkLst>
            <pc:docMk/>
            <pc:sldMk cId="2681470774" sldId="300"/>
            <ac:spMk id="21" creationId="{8F2B42D3-0F24-9762-6A35-F50191E64351}"/>
          </ac:spMkLst>
        </pc:spChg>
        <pc:spChg chg="add del mod topLvl">
          <ac:chgData name="Georgi Ivanov" userId="7e1b55540891ebeb" providerId="LiveId" clId="{D5C2B1E3-3E17-44F0-8B7A-9E0928E1AB27}" dt="2024-09-25T12:57:14.653" v="1077" actId="478"/>
          <ac:spMkLst>
            <pc:docMk/>
            <pc:sldMk cId="2681470774" sldId="300"/>
            <ac:spMk id="23" creationId="{672B2073-1506-0507-8832-F6AF7199BBB9}"/>
          </ac:spMkLst>
        </pc:spChg>
        <pc:spChg chg="add mod">
          <ac:chgData name="Georgi Ivanov" userId="7e1b55540891ebeb" providerId="LiveId" clId="{D5C2B1E3-3E17-44F0-8B7A-9E0928E1AB27}" dt="2024-09-25T12:57:58.384" v="1085" actId="1076"/>
          <ac:spMkLst>
            <pc:docMk/>
            <pc:sldMk cId="2681470774" sldId="300"/>
            <ac:spMk id="24" creationId="{C2FC9430-89FA-B6F5-FF73-09BF4CD95552}"/>
          </ac:spMkLst>
        </pc:spChg>
        <pc:spChg chg="add mod">
          <ac:chgData name="Georgi Ivanov" userId="7e1b55540891ebeb" providerId="LiveId" clId="{D5C2B1E3-3E17-44F0-8B7A-9E0928E1AB27}" dt="2024-09-25T12:50:41.690" v="996" actId="1076"/>
          <ac:spMkLst>
            <pc:docMk/>
            <pc:sldMk cId="2681470774" sldId="300"/>
            <ac:spMk id="25" creationId="{2E96F421-5C8F-D7AC-CB8E-03B2D301D14F}"/>
          </ac:spMkLst>
        </pc:spChg>
        <pc:spChg chg="add mod">
          <ac:chgData name="Georgi Ivanov" userId="7e1b55540891ebeb" providerId="LiveId" clId="{D5C2B1E3-3E17-44F0-8B7A-9E0928E1AB27}" dt="2024-09-25T12:50:41.690" v="996" actId="1076"/>
          <ac:spMkLst>
            <pc:docMk/>
            <pc:sldMk cId="2681470774" sldId="300"/>
            <ac:spMk id="26" creationId="{0D0C9F23-91D5-336C-C039-30C996918F95}"/>
          </ac:spMkLst>
        </pc:spChg>
        <pc:spChg chg="del">
          <ac:chgData name="Georgi Ivanov" userId="7e1b55540891ebeb" providerId="LiveId" clId="{D5C2B1E3-3E17-44F0-8B7A-9E0928E1AB27}" dt="2024-09-25T12:32:48.759" v="809" actId="478"/>
          <ac:spMkLst>
            <pc:docMk/>
            <pc:sldMk cId="2681470774" sldId="300"/>
            <ac:spMk id="33" creationId="{53478140-8BE6-5525-DF07-9358650A627B}"/>
          </ac:spMkLst>
        </pc:spChg>
        <pc:spChg chg="add mod">
          <ac:chgData name="Georgi Ivanov" userId="7e1b55540891ebeb" providerId="LiveId" clId="{D5C2B1E3-3E17-44F0-8B7A-9E0928E1AB27}" dt="2024-09-25T12:58:01.957" v="1086" actId="14100"/>
          <ac:spMkLst>
            <pc:docMk/>
            <pc:sldMk cId="2681470774" sldId="300"/>
            <ac:spMk id="34" creationId="{F24EF291-C501-D101-0029-071EE9043CF4}"/>
          </ac:spMkLst>
        </pc:spChg>
        <pc:grpChg chg="add del mod">
          <ac:chgData name="Georgi Ivanov" userId="7e1b55540891ebeb" providerId="LiveId" clId="{D5C2B1E3-3E17-44F0-8B7A-9E0928E1AB27}" dt="2024-09-25T12:54:47.751" v="1034" actId="478"/>
          <ac:grpSpMkLst>
            <pc:docMk/>
            <pc:sldMk cId="2681470774" sldId="300"/>
            <ac:grpSpMk id="8" creationId="{812F40D0-F814-BF21-B637-D31D88C371F3}"/>
          </ac:grpSpMkLst>
        </pc:grpChg>
        <pc:grpChg chg="add del mod">
          <ac:chgData name="Georgi Ivanov" userId="7e1b55540891ebeb" providerId="LiveId" clId="{D5C2B1E3-3E17-44F0-8B7A-9E0928E1AB27}" dt="2024-09-25T12:38:03.408" v="887" actId="165"/>
          <ac:grpSpMkLst>
            <pc:docMk/>
            <pc:sldMk cId="2681470774" sldId="300"/>
            <ac:grpSpMk id="9" creationId="{4EA1D100-0D5A-AD98-CBD6-3B7FAC4E147C}"/>
          </ac:grpSpMkLst>
        </pc:grpChg>
        <pc:grpChg chg="mod topLvl">
          <ac:chgData name="Georgi Ivanov" userId="7e1b55540891ebeb" providerId="LiveId" clId="{D5C2B1E3-3E17-44F0-8B7A-9E0928E1AB27}" dt="2024-09-25T12:55:02.013" v="1039" actId="1076"/>
          <ac:grpSpMkLst>
            <pc:docMk/>
            <pc:sldMk cId="2681470774" sldId="300"/>
            <ac:grpSpMk id="14" creationId="{93FF40BB-26DA-E3DD-6351-24DE54E3BD81}"/>
          </ac:grpSpMkLst>
        </pc:grpChg>
        <pc:grpChg chg="add del mod">
          <ac:chgData name="Georgi Ivanov" userId="7e1b55540891ebeb" providerId="LiveId" clId="{D5C2B1E3-3E17-44F0-8B7A-9E0928E1AB27}" dt="2024-09-25T12:54:25.242" v="1030" actId="165"/>
          <ac:grpSpMkLst>
            <pc:docMk/>
            <pc:sldMk cId="2681470774" sldId="300"/>
            <ac:grpSpMk id="17" creationId="{58CDC86F-C2E6-8340-B71C-EC240DF61C89}"/>
          </ac:grpSpMkLst>
        </pc:grpChg>
        <pc:grpChg chg="add mod topLvl">
          <ac:chgData name="Georgi Ivanov" userId="7e1b55540891ebeb" providerId="LiveId" clId="{D5C2B1E3-3E17-44F0-8B7A-9E0928E1AB27}" dt="2024-09-25T12:57:53.643" v="1084" actId="1076"/>
          <ac:grpSpMkLst>
            <pc:docMk/>
            <pc:sldMk cId="2681470774" sldId="300"/>
            <ac:grpSpMk id="31" creationId="{1FFC8AE4-5582-19C0-DED3-63D8270B8571}"/>
          </ac:grpSpMkLst>
        </pc:grpChg>
        <pc:grpChg chg="add del mod">
          <ac:chgData name="Georgi Ivanov" userId="7e1b55540891ebeb" providerId="LiveId" clId="{D5C2B1E3-3E17-44F0-8B7A-9E0928E1AB27}" dt="2024-09-25T12:54:38.210" v="1033" actId="165"/>
          <ac:grpSpMkLst>
            <pc:docMk/>
            <pc:sldMk cId="2681470774" sldId="300"/>
            <ac:grpSpMk id="32" creationId="{CED7C7C4-9EF0-D034-523D-CF0F3057B6DB}"/>
          </ac:grpSpMkLst>
        </pc:grpChg>
        <pc:picChg chg="mod">
          <ac:chgData name="Georgi Ivanov" userId="7e1b55540891ebeb" providerId="LiveId" clId="{D5C2B1E3-3E17-44F0-8B7A-9E0928E1AB27}" dt="2024-09-25T12:55:02.013" v="1039" actId="1076"/>
          <ac:picMkLst>
            <pc:docMk/>
            <pc:sldMk cId="2681470774" sldId="300"/>
            <ac:picMk id="12" creationId="{219DB6DD-594A-8956-2C7D-A848844A957E}"/>
          </ac:picMkLst>
        </pc:picChg>
        <pc:picChg chg="mod">
          <ac:chgData name="Georgi Ivanov" userId="7e1b55540891ebeb" providerId="LiveId" clId="{D5C2B1E3-3E17-44F0-8B7A-9E0928E1AB27}" dt="2024-09-25T12:55:02.013" v="1039" actId="1076"/>
          <ac:picMkLst>
            <pc:docMk/>
            <pc:sldMk cId="2681470774" sldId="300"/>
            <ac:picMk id="13" creationId="{91F8EF9C-1BEE-8152-85FD-C1F244475C3E}"/>
          </ac:picMkLst>
        </pc:picChg>
        <pc:picChg chg="mod topLvl">
          <ac:chgData name="Georgi Ivanov" userId="7e1b55540891ebeb" providerId="LiveId" clId="{D5C2B1E3-3E17-44F0-8B7A-9E0928E1AB27}" dt="2024-09-25T12:54:33.204" v="1032" actId="1076"/>
          <ac:picMkLst>
            <pc:docMk/>
            <pc:sldMk cId="2681470774" sldId="300"/>
            <ac:picMk id="15" creationId="{FCC4914A-A8C0-9BC5-4089-27074B66A779}"/>
          </ac:picMkLst>
        </pc:picChg>
        <pc:picChg chg="add del mod">
          <ac:chgData name="Georgi Ivanov" userId="7e1b55540891ebeb" providerId="LiveId" clId="{D5C2B1E3-3E17-44F0-8B7A-9E0928E1AB27}" dt="2024-09-25T12:52:11.392" v="1019" actId="478"/>
          <ac:picMkLst>
            <pc:docMk/>
            <pc:sldMk cId="2681470774" sldId="300"/>
            <ac:picMk id="22" creationId="{856D5548-0AFD-465E-F78E-02BAEC17451A}"/>
          </ac:picMkLst>
        </pc:picChg>
        <pc:picChg chg="add del mod">
          <ac:chgData name="Georgi Ivanov" userId="7e1b55540891ebeb" providerId="LiveId" clId="{D5C2B1E3-3E17-44F0-8B7A-9E0928E1AB27}" dt="2024-09-25T12:52:10.969" v="1018" actId="478"/>
          <ac:picMkLst>
            <pc:docMk/>
            <pc:sldMk cId="2681470774" sldId="300"/>
            <ac:picMk id="27" creationId="{E6F39BB3-989F-5A73-0040-5C5A7AAD7633}"/>
          </ac:picMkLst>
        </pc:picChg>
        <pc:picChg chg="add del mod">
          <ac:chgData name="Georgi Ivanov" userId="7e1b55540891ebeb" providerId="LiveId" clId="{D5C2B1E3-3E17-44F0-8B7A-9E0928E1AB27}" dt="2024-09-25T12:52:10.329" v="1017" actId="478"/>
          <ac:picMkLst>
            <pc:docMk/>
            <pc:sldMk cId="2681470774" sldId="300"/>
            <ac:picMk id="28" creationId="{EFB6A4E7-EB39-8D27-F9CA-A80DD6D6F66F}"/>
          </ac:picMkLst>
        </pc:picChg>
        <pc:picChg chg="add mod">
          <ac:chgData name="Georgi Ivanov" userId="7e1b55540891ebeb" providerId="LiveId" clId="{D5C2B1E3-3E17-44F0-8B7A-9E0928E1AB27}" dt="2024-09-25T12:57:53.643" v="1084" actId="1076"/>
          <ac:picMkLst>
            <pc:docMk/>
            <pc:sldMk cId="2681470774" sldId="300"/>
            <ac:picMk id="29" creationId="{589B69B8-B088-4632-7BDA-773B26D65CB9}"/>
          </ac:picMkLst>
        </pc:picChg>
        <pc:picChg chg="add mod">
          <ac:chgData name="Georgi Ivanov" userId="7e1b55540891ebeb" providerId="LiveId" clId="{D5C2B1E3-3E17-44F0-8B7A-9E0928E1AB27}" dt="2024-09-25T12:57:53.643" v="1084" actId="1076"/>
          <ac:picMkLst>
            <pc:docMk/>
            <pc:sldMk cId="2681470774" sldId="300"/>
            <ac:picMk id="30" creationId="{804CD20B-D34E-E250-FE43-7F9A9816001B}"/>
          </ac:picMkLst>
        </pc:picChg>
        <pc:picChg chg="del">
          <ac:chgData name="Georgi Ivanov" userId="7e1b55540891ebeb" providerId="LiveId" clId="{D5C2B1E3-3E17-44F0-8B7A-9E0928E1AB27}" dt="2024-09-25T12:32:48.759" v="809" actId="478"/>
          <ac:picMkLst>
            <pc:docMk/>
            <pc:sldMk cId="2681470774" sldId="300"/>
            <ac:picMk id="1026" creationId="{1F45828B-8F5C-FF73-3C4B-A998B8DACFCB}"/>
          </ac:picMkLst>
        </pc:picChg>
        <pc:picChg chg="del">
          <ac:chgData name="Georgi Ivanov" userId="7e1b55540891ebeb" providerId="LiveId" clId="{D5C2B1E3-3E17-44F0-8B7A-9E0928E1AB27}" dt="2024-09-25T12:32:48.759" v="809" actId="478"/>
          <ac:picMkLst>
            <pc:docMk/>
            <pc:sldMk cId="2681470774" sldId="300"/>
            <ac:picMk id="1028" creationId="{037AAB4F-B00B-7F7E-8EB1-FE647FD6520B}"/>
          </ac:picMkLst>
        </pc:picChg>
        <pc:picChg chg="add mod">
          <ac:chgData name="Georgi Ivanov" userId="7e1b55540891ebeb" providerId="LiveId" clId="{D5C2B1E3-3E17-44F0-8B7A-9E0928E1AB27}" dt="2024-09-25T12:57:53.643" v="1084" actId="1076"/>
          <ac:picMkLst>
            <pc:docMk/>
            <pc:sldMk cId="2681470774" sldId="300"/>
            <ac:picMk id="2050" creationId="{5E82655F-7EC7-C105-EAA2-389E5E131EBC}"/>
          </ac:picMkLst>
        </pc:picChg>
      </pc:sldChg>
      <pc:sldChg chg="modSp add mod">
        <pc:chgData name="Georgi Ivanov" userId="7e1b55540891ebeb" providerId="LiveId" clId="{D5C2B1E3-3E17-44F0-8B7A-9E0928E1AB27}" dt="2024-09-25T12:59:27.396" v="1127" actId="20577"/>
        <pc:sldMkLst>
          <pc:docMk/>
          <pc:sldMk cId="1192031428" sldId="301"/>
        </pc:sldMkLst>
        <pc:spChg chg="mod">
          <ac:chgData name="Georgi Ivanov" userId="7e1b55540891ebeb" providerId="LiveId" clId="{D5C2B1E3-3E17-44F0-8B7A-9E0928E1AB27}" dt="2024-09-25T12:59:27.396" v="1127" actId="20577"/>
          <ac:spMkLst>
            <pc:docMk/>
            <pc:sldMk cId="1192031428" sldId="301"/>
            <ac:spMk id="2" creationId="{DD69C8D6-1353-8956-3F07-99E94229D42C}"/>
          </ac:spMkLst>
        </pc:spChg>
      </pc:sldChg>
      <pc:sldChg chg="modSp add mod">
        <pc:chgData name="Georgi Ivanov" userId="7e1b55540891ebeb" providerId="LiveId" clId="{D5C2B1E3-3E17-44F0-8B7A-9E0928E1AB27}" dt="2024-09-25T12:59:42.784" v="1144" actId="20577"/>
        <pc:sldMkLst>
          <pc:docMk/>
          <pc:sldMk cId="1972952743" sldId="302"/>
        </pc:sldMkLst>
        <pc:spChg chg="mod">
          <ac:chgData name="Georgi Ivanov" userId="7e1b55540891ebeb" providerId="LiveId" clId="{D5C2B1E3-3E17-44F0-8B7A-9E0928E1AB27}" dt="2024-09-25T12:59:42.784" v="1144" actId="20577"/>
          <ac:spMkLst>
            <pc:docMk/>
            <pc:sldMk cId="1972952743" sldId="302"/>
            <ac:spMk id="2" creationId="{DD69C8D6-1353-8956-3F07-99E94229D42C}"/>
          </ac:spMkLst>
        </pc:spChg>
      </pc:sldChg>
      <pc:sldChg chg="addSp delSp modSp add mod">
        <pc:chgData name="Georgi Ivanov" userId="7e1b55540891ebeb" providerId="LiveId" clId="{D5C2B1E3-3E17-44F0-8B7A-9E0928E1AB27}" dt="2024-09-25T13:14:25.978" v="1413" actId="1076"/>
        <pc:sldMkLst>
          <pc:docMk/>
          <pc:sldMk cId="3905450874" sldId="303"/>
        </pc:sldMkLst>
        <pc:spChg chg="add del mod">
          <ac:chgData name="Georgi Ivanov" userId="7e1b55540891ebeb" providerId="LiveId" clId="{D5C2B1E3-3E17-44F0-8B7A-9E0928E1AB27}" dt="2024-09-25T13:14:15.380" v="1412" actId="1076"/>
          <ac:spMkLst>
            <pc:docMk/>
            <pc:sldMk cId="3905450874" sldId="303"/>
            <ac:spMk id="12" creationId="{084BFAB7-1E03-4EB2-8CCE-0C5CACEA3CC1}"/>
          </ac:spMkLst>
        </pc:spChg>
        <pc:spChg chg="mod">
          <ac:chgData name="Georgi Ivanov" userId="7e1b55540891ebeb" providerId="LiveId" clId="{D5C2B1E3-3E17-44F0-8B7A-9E0928E1AB27}" dt="2024-09-25T13:14:25.978" v="1413" actId="1076"/>
          <ac:spMkLst>
            <pc:docMk/>
            <pc:sldMk cId="3905450874" sldId="303"/>
            <ac:spMk id="15" creationId="{31CC1986-C0F2-4C1B-8575-225EEE4D561B}"/>
          </ac:spMkLst>
        </pc:spChg>
        <pc:spChg chg="del mod">
          <ac:chgData name="Georgi Ivanov" userId="7e1b55540891ebeb" providerId="LiveId" clId="{D5C2B1E3-3E17-44F0-8B7A-9E0928E1AB27}" dt="2024-09-25T13:14:12.310" v="1410" actId="478"/>
          <ac:spMkLst>
            <pc:docMk/>
            <pc:sldMk cId="3905450874" sldId="303"/>
            <ac:spMk id="16" creationId="{73876DDB-D869-4E80-9AE0-B1B350CCA131}"/>
          </ac:spMkLst>
        </pc:spChg>
        <pc:spChg chg="mod">
          <ac:chgData name="Georgi Ivanov" userId="7e1b55540891ebeb" providerId="LiveId" clId="{D5C2B1E3-3E17-44F0-8B7A-9E0928E1AB27}" dt="2024-09-25T13:02:08.598" v="1193" actId="1076"/>
          <ac:spMkLst>
            <pc:docMk/>
            <pc:sldMk cId="3905450874" sldId="303"/>
            <ac:spMk id="31" creationId="{246F018F-2061-4376-B7CA-EA7870C7DF33}"/>
          </ac:spMkLst>
        </pc:spChg>
        <pc:spChg chg="mod">
          <ac:chgData name="Georgi Ivanov" userId="7e1b55540891ebeb" providerId="LiveId" clId="{D5C2B1E3-3E17-44F0-8B7A-9E0928E1AB27}" dt="2024-09-25T13:02:24.367" v="1208" actId="14100"/>
          <ac:spMkLst>
            <pc:docMk/>
            <pc:sldMk cId="3905450874" sldId="303"/>
            <ac:spMk id="32" creationId="{A4781CB8-6941-4A5A-B54F-1F881A26A730}"/>
          </ac:spMkLst>
        </pc:spChg>
        <pc:spChg chg="mod">
          <ac:chgData name="Georgi Ivanov" userId="7e1b55540891ebeb" providerId="LiveId" clId="{D5C2B1E3-3E17-44F0-8B7A-9E0928E1AB27}" dt="2024-09-25T13:02:12.841" v="1199" actId="20577"/>
          <ac:spMkLst>
            <pc:docMk/>
            <pc:sldMk cId="3905450874" sldId="303"/>
            <ac:spMk id="33" creationId="{4AB2ACD1-6140-4842-BC3E-5D762A5714D4}"/>
          </ac:spMkLst>
        </pc:spChg>
        <pc:spChg chg="mod">
          <ac:chgData name="Georgi Ivanov" userId="7e1b55540891ebeb" providerId="LiveId" clId="{D5C2B1E3-3E17-44F0-8B7A-9E0928E1AB27}" dt="2024-09-25T13:02:52.082" v="1266" actId="20577"/>
          <ac:spMkLst>
            <pc:docMk/>
            <pc:sldMk cId="3905450874" sldId="303"/>
            <ac:spMk id="37" creationId="{C8A0FE49-A2E6-4288-95C1-416B721FE671}"/>
          </ac:spMkLst>
        </pc:spChg>
        <pc:spChg chg="mod">
          <ac:chgData name="Georgi Ivanov" userId="7e1b55540891ebeb" providerId="LiveId" clId="{D5C2B1E3-3E17-44F0-8B7A-9E0928E1AB27}" dt="2024-09-25T13:03:06.441" v="1292" actId="20577"/>
          <ac:spMkLst>
            <pc:docMk/>
            <pc:sldMk cId="3905450874" sldId="303"/>
            <ac:spMk id="38" creationId="{4C541DA1-3474-448E-85B7-DCDCAB60D849}"/>
          </ac:spMkLst>
        </pc:spChg>
        <pc:spChg chg="mod">
          <ac:chgData name="Georgi Ivanov" userId="7e1b55540891ebeb" providerId="LiveId" clId="{D5C2B1E3-3E17-44F0-8B7A-9E0928E1AB27}" dt="2024-09-25T13:03:27.073" v="1331" actId="313"/>
          <ac:spMkLst>
            <pc:docMk/>
            <pc:sldMk cId="3905450874" sldId="303"/>
            <ac:spMk id="39" creationId="{4D0DD9E9-8C48-41FB-81FC-E16539A15F21}"/>
          </ac:spMkLst>
        </pc:spChg>
        <pc:picChg chg="mod">
          <ac:chgData name="Georgi Ivanov" userId="7e1b55540891ebeb" providerId="LiveId" clId="{D5C2B1E3-3E17-44F0-8B7A-9E0928E1AB27}" dt="2024-09-25T13:03:32.624" v="1333" actId="1076"/>
          <ac:picMkLst>
            <pc:docMk/>
            <pc:sldMk cId="3905450874" sldId="303"/>
            <ac:picMk id="6" creationId="{4C98512E-B76C-AAC0-813D-EBAF42C0CD10}"/>
          </ac:picMkLst>
        </pc:picChg>
      </pc:sldChg>
      <pc:sldChg chg="modSp add mod">
        <pc:chgData name="Georgi Ivanov" userId="7e1b55540891ebeb" providerId="LiveId" clId="{D5C2B1E3-3E17-44F0-8B7A-9E0928E1AB27}" dt="2024-09-25T13:21:56.106" v="1480" actId="313"/>
        <pc:sldMkLst>
          <pc:docMk/>
          <pc:sldMk cId="2750299626" sldId="304"/>
        </pc:sldMkLst>
        <pc:spChg chg="mod">
          <ac:chgData name="Georgi Ivanov" userId="7e1b55540891ebeb" providerId="LiveId" clId="{D5C2B1E3-3E17-44F0-8B7A-9E0928E1AB27}" dt="2024-09-25T13:21:56.106" v="1480" actId="313"/>
          <ac:spMkLst>
            <pc:docMk/>
            <pc:sldMk cId="2750299626" sldId="304"/>
            <ac:spMk id="2" creationId="{DD69C8D6-1353-8956-3F07-99E94229D42C}"/>
          </ac:spMkLst>
        </pc:spChg>
      </pc:sldChg>
      <pc:sldChg chg="addSp delSp modSp add mod">
        <pc:chgData name="Georgi Ivanov" userId="7e1b55540891ebeb" providerId="LiveId" clId="{D5C2B1E3-3E17-44F0-8B7A-9E0928E1AB27}" dt="2024-09-25T13:24:46.212" v="1524" actId="1076"/>
        <pc:sldMkLst>
          <pc:docMk/>
          <pc:sldMk cId="1652063002" sldId="305"/>
        </pc:sldMkLst>
        <pc:spChg chg="mod">
          <ac:chgData name="Georgi Ivanov" userId="7e1b55540891ebeb" providerId="LiveId" clId="{D5C2B1E3-3E17-44F0-8B7A-9E0928E1AB27}" dt="2024-09-25T13:22:40.261" v="1507" actId="20577"/>
          <ac:spMkLst>
            <pc:docMk/>
            <pc:sldMk cId="1652063002" sldId="305"/>
            <ac:spMk id="2" creationId="{65A1F34D-EB98-4CAD-A1DE-7AC573B109A0}"/>
          </ac:spMkLst>
        </pc:spChg>
        <pc:spChg chg="mod">
          <ac:chgData name="Georgi Ivanov" userId="7e1b55540891ebeb" providerId="LiveId" clId="{D5C2B1E3-3E17-44F0-8B7A-9E0928E1AB27}" dt="2024-09-25T13:23:16.870" v="1511" actId="12"/>
          <ac:spMkLst>
            <pc:docMk/>
            <pc:sldMk cId="1652063002" sldId="305"/>
            <ac:spMk id="59" creationId="{01381D6B-0A38-4E06-8506-A342F6A017DB}"/>
          </ac:spMkLst>
        </pc:spChg>
        <pc:picChg chg="add mod">
          <ac:chgData name="Georgi Ivanov" userId="7e1b55540891ebeb" providerId="LiveId" clId="{D5C2B1E3-3E17-44F0-8B7A-9E0928E1AB27}" dt="2024-09-25T13:24:46.212" v="1524" actId="1076"/>
          <ac:picMkLst>
            <pc:docMk/>
            <pc:sldMk cId="1652063002" sldId="305"/>
            <ac:picMk id="3" creationId="{DB4F0400-51F6-DEFA-BF32-6C2CE7E690FE}"/>
          </ac:picMkLst>
        </pc:picChg>
        <pc:picChg chg="del">
          <ac:chgData name="Georgi Ivanov" userId="7e1b55540891ebeb" providerId="LiveId" clId="{D5C2B1E3-3E17-44F0-8B7A-9E0928E1AB27}" dt="2024-09-25T13:24:33.238" v="1523" actId="478"/>
          <ac:picMkLst>
            <pc:docMk/>
            <pc:sldMk cId="1652063002" sldId="305"/>
            <ac:picMk id="4" creationId="{A482FC57-17D3-3A23-46A2-1257FC345C5A}"/>
          </ac:picMkLst>
        </pc:picChg>
      </pc:sldChg>
      <pc:sldChg chg="addSp delSp modSp add mod">
        <pc:chgData name="Georgi Ivanov" userId="7e1b55540891ebeb" providerId="LiveId" clId="{D5C2B1E3-3E17-44F0-8B7A-9E0928E1AB27}" dt="2024-09-26T08:34:30.863" v="2904" actId="2711"/>
        <pc:sldMkLst>
          <pc:docMk/>
          <pc:sldMk cId="533037609" sldId="306"/>
        </pc:sldMkLst>
        <pc:spChg chg="mod">
          <ac:chgData name="Georgi Ivanov" userId="7e1b55540891ebeb" providerId="LiveId" clId="{D5C2B1E3-3E17-44F0-8B7A-9E0928E1AB27}" dt="2024-09-25T13:26:18.054" v="1554" actId="20577"/>
          <ac:spMkLst>
            <pc:docMk/>
            <pc:sldMk cId="533037609" sldId="306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34:30.863" v="2904" actId="2711"/>
          <ac:spMkLst>
            <pc:docMk/>
            <pc:sldMk cId="533037609" sldId="306"/>
            <ac:spMk id="3" creationId="{E3616238-46A4-D94F-D84B-7DE0BA6D908A}"/>
          </ac:spMkLst>
        </pc:spChg>
        <pc:spChg chg="add del mod">
          <ac:chgData name="Georgi Ivanov" userId="7e1b55540891ebeb" providerId="LiveId" clId="{D5C2B1E3-3E17-44F0-8B7A-9E0928E1AB27}" dt="2024-09-26T07:52:41.207" v="2283" actId="478"/>
          <ac:spMkLst>
            <pc:docMk/>
            <pc:sldMk cId="533037609" sldId="306"/>
            <ac:spMk id="9" creationId="{5BDC83DD-E745-A414-9B0D-D250E0A4C626}"/>
          </ac:spMkLst>
        </pc:spChg>
        <pc:spChg chg="del">
          <ac:chgData name="Georgi Ivanov" userId="7e1b55540891ebeb" providerId="LiveId" clId="{D5C2B1E3-3E17-44F0-8B7A-9E0928E1AB27}" dt="2024-09-26T07:42:50.019" v="2151" actId="478"/>
          <ac:spMkLst>
            <pc:docMk/>
            <pc:sldMk cId="533037609" sldId="306"/>
            <ac:spMk id="10" creationId="{39C09223-D36A-E074-1AA6-0CB54D96C302}"/>
          </ac:spMkLst>
        </pc:spChg>
        <pc:spChg chg="del">
          <ac:chgData name="Georgi Ivanov" userId="7e1b55540891ebeb" providerId="LiveId" clId="{D5C2B1E3-3E17-44F0-8B7A-9E0928E1AB27}" dt="2024-09-26T07:42:50.019" v="2151" actId="478"/>
          <ac:spMkLst>
            <pc:docMk/>
            <pc:sldMk cId="533037609" sldId="306"/>
            <ac:spMk id="11" creationId="{39CEC175-E2F9-A40F-65CB-92B68AEF21E7}"/>
          </ac:spMkLst>
        </pc:spChg>
        <pc:spChg chg="del">
          <ac:chgData name="Georgi Ivanov" userId="7e1b55540891ebeb" providerId="LiveId" clId="{D5C2B1E3-3E17-44F0-8B7A-9E0928E1AB27}" dt="2024-09-26T07:42:50.019" v="2151" actId="478"/>
          <ac:spMkLst>
            <pc:docMk/>
            <pc:sldMk cId="533037609" sldId="306"/>
            <ac:spMk id="16" creationId="{E970DDF6-1DAA-110B-AD62-F1DB1D9FB745}"/>
          </ac:spMkLst>
        </pc:spChg>
        <pc:spChg chg="add del mod">
          <ac:chgData name="Georgi Ivanov" userId="7e1b55540891ebeb" providerId="LiveId" clId="{D5C2B1E3-3E17-44F0-8B7A-9E0928E1AB27}" dt="2024-09-26T07:49:48.191" v="2227" actId="478"/>
          <ac:spMkLst>
            <pc:docMk/>
            <pc:sldMk cId="533037609" sldId="306"/>
            <ac:spMk id="17" creationId="{25ED45C8-79E0-B611-B86C-08135DDA99F5}"/>
          </ac:spMkLst>
        </pc:spChg>
        <pc:spChg chg="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18" creationId="{4804B82E-E9C1-DD3E-AEBA-9A64F4356BD5}"/>
          </ac:spMkLst>
        </pc:spChg>
        <pc:spChg chg="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19" creationId="{4BBAE00B-5B22-3315-FC13-44FF9745CE42}"/>
          </ac:spMkLst>
        </pc:spChg>
        <pc:spChg chg="add mod">
          <ac:chgData name="Georgi Ivanov" userId="7e1b55540891ebeb" providerId="LiveId" clId="{D5C2B1E3-3E17-44F0-8B7A-9E0928E1AB27}" dt="2024-09-26T08:01:18.535" v="2467" actId="688"/>
          <ac:spMkLst>
            <pc:docMk/>
            <pc:sldMk cId="533037609" sldId="306"/>
            <ac:spMk id="20" creationId="{8A837539-3BE5-3AF8-3D24-30F54984B180}"/>
          </ac:spMkLst>
        </pc:spChg>
        <pc:spChg chg="add 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21" creationId="{2E0BF118-8043-6DC3-A6B7-D439D8ADC402}"/>
          </ac:spMkLst>
        </pc:spChg>
        <pc:spChg chg="add 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22" creationId="{5E3B1A33-E7D8-89B0-0429-1D7BFB233039}"/>
          </ac:spMkLst>
        </pc:spChg>
        <pc:spChg chg="del mod">
          <ac:chgData name="Georgi Ivanov" userId="7e1b55540891ebeb" providerId="LiveId" clId="{D5C2B1E3-3E17-44F0-8B7A-9E0928E1AB27}" dt="2024-09-26T07:46:13.769" v="2202" actId="478"/>
          <ac:spMkLst>
            <pc:docMk/>
            <pc:sldMk cId="533037609" sldId="306"/>
            <ac:spMk id="24" creationId="{C2FC9430-89FA-B6F5-FF73-09BF4CD95552}"/>
          </ac:spMkLst>
        </pc:spChg>
        <pc:spChg chg="add del 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25" creationId="{2E96F421-5C8F-D7AC-CB8E-03B2D301D14F}"/>
          </ac:spMkLst>
        </pc:spChg>
        <pc:spChg chg="add del 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26" creationId="{0D0C9F23-91D5-336C-C039-30C996918F95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27" creationId="{7DA5A9A3-FFE3-84E2-F7EE-42D52A4FAAB6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28" creationId="{5D8C8C02-5ACC-6D20-89A1-9A5A36D24717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2" creationId="{987E1DE9-24F9-EF27-5231-3C3956B9EAEC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3" creationId="{8C4573EC-48E0-8C76-A3BB-CE72853B5F40}"/>
          </ac:spMkLst>
        </pc:spChg>
        <pc:spChg chg="del mod">
          <ac:chgData name="Georgi Ivanov" userId="7e1b55540891ebeb" providerId="LiveId" clId="{D5C2B1E3-3E17-44F0-8B7A-9E0928E1AB27}" dt="2024-09-26T07:46:13.769" v="2202" actId="478"/>
          <ac:spMkLst>
            <pc:docMk/>
            <pc:sldMk cId="533037609" sldId="306"/>
            <ac:spMk id="34" creationId="{F24EF291-C501-D101-0029-071EE9043CF4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5" creationId="{0459DF42-8DE1-326C-78AF-9E492D7C1B74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6" creationId="{63F595F7-EEAD-BC3D-F400-D96CB04EA856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7" creationId="{9E2A0C89-3F75-7F3F-C761-1B1D5263F72D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8" creationId="{FB2C7B5F-450F-B1CC-0FE5-AE904E41B2F5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9" creationId="{D8526FAC-DF41-2ACC-1D79-7584A4B10E42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40" creationId="{3B72BD6F-CCA6-3490-BAE2-3A1B7C520EFB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41" creationId="{E6B25B36-58F0-C885-300A-215619A1C1EF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42" creationId="{75727771-5FED-6830-F2C7-7B3305B3BBE3}"/>
          </ac:spMkLst>
        </pc:spChg>
        <pc:spChg chg="add del mod">
          <ac:chgData name="Georgi Ivanov" userId="7e1b55540891ebeb" providerId="LiveId" clId="{D5C2B1E3-3E17-44F0-8B7A-9E0928E1AB27}" dt="2024-09-26T08:01:24.246" v="2469" actId="478"/>
          <ac:spMkLst>
            <pc:docMk/>
            <pc:sldMk cId="533037609" sldId="306"/>
            <ac:spMk id="44" creationId="{34C9120D-7E56-3897-8B71-6267DF50FF1F}"/>
          </ac:spMkLst>
        </pc:spChg>
        <pc:spChg chg="add 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45" creationId="{0BB37216-136E-A61C-B974-E5890833BF41}"/>
          </ac:spMkLst>
        </pc:spChg>
        <pc:spChg chg="add mod">
          <ac:chgData name="Georgi Ivanov" userId="7e1b55540891ebeb" providerId="LiveId" clId="{D5C2B1E3-3E17-44F0-8B7A-9E0928E1AB27}" dt="2024-09-26T08:00:50.863" v="2464" actId="14100"/>
          <ac:spMkLst>
            <pc:docMk/>
            <pc:sldMk cId="533037609" sldId="306"/>
            <ac:spMk id="46" creationId="{34DC775C-FE86-F5DC-F3D1-D5E2D253A742}"/>
          </ac:spMkLst>
        </pc:spChg>
        <pc:spChg chg="add mod">
          <ac:chgData name="Georgi Ivanov" userId="7e1b55540891ebeb" providerId="LiveId" clId="{D5C2B1E3-3E17-44F0-8B7A-9E0928E1AB27}" dt="2024-09-26T07:59:59.832" v="2437" actId="1076"/>
          <ac:spMkLst>
            <pc:docMk/>
            <pc:sldMk cId="533037609" sldId="306"/>
            <ac:spMk id="47" creationId="{46136E1C-7F3A-BA3F-FC0C-C01F84635983}"/>
          </ac:spMkLst>
        </pc:spChg>
        <pc:spChg chg="add mod">
          <ac:chgData name="Georgi Ivanov" userId="7e1b55540891ebeb" providerId="LiveId" clId="{D5C2B1E3-3E17-44F0-8B7A-9E0928E1AB27}" dt="2024-09-26T07:59:59.832" v="2437" actId="1076"/>
          <ac:spMkLst>
            <pc:docMk/>
            <pc:sldMk cId="533037609" sldId="306"/>
            <ac:spMk id="48" creationId="{D2651B7D-662C-F793-8FDA-FCDC154CCB52}"/>
          </ac:spMkLst>
        </pc:spChg>
        <pc:spChg chg="add mod">
          <ac:chgData name="Georgi Ivanov" userId="7e1b55540891ebeb" providerId="LiveId" clId="{D5C2B1E3-3E17-44F0-8B7A-9E0928E1AB27}" dt="2024-09-26T07:57:25.667" v="2361"/>
          <ac:spMkLst>
            <pc:docMk/>
            <pc:sldMk cId="533037609" sldId="306"/>
            <ac:spMk id="49" creationId="{47D2F0F3-546F-CC58-F704-C2FAC9CA804F}"/>
          </ac:spMkLst>
        </pc:spChg>
        <pc:spChg chg="add mod">
          <ac:chgData name="Georgi Ivanov" userId="7e1b55540891ebeb" providerId="LiveId" clId="{D5C2B1E3-3E17-44F0-8B7A-9E0928E1AB27}" dt="2024-09-26T08:06:16.519" v="2506" actId="1076"/>
          <ac:spMkLst>
            <pc:docMk/>
            <pc:sldMk cId="533037609" sldId="306"/>
            <ac:spMk id="51" creationId="{FE48ED0D-8310-E6BC-DEF4-708A608CC621}"/>
          </ac:spMkLst>
        </pc:spChg>
        <pc:spChg chg="add mod">
          <ac:chgData name="Georgi Ivanov" userId="7e1b55540891ebeb" providerId="LiveId" clId="{D5C2B1E3-3E17-44F0-8B7A-9E0928E1AB27}" dt="2024-09-26T08:06:16.519" v="2506" actId="1076"/>
          <ac:spMkLst>
            <pc:docMk/>
            <pc:sldMk cId="533037609" sldId="306"/>
            <ac:spMk id="52" creationId="{D2F5A9E8-DD22-7D5B-235A-CA9BAB1514C5}"/>
          </ac:spMkLst>
        </pc:spChg>
        <pc:spChg chg="add mod">
          <ac:chgData name="Georgi Ivanov" userId="7e1b55540891ebeb" providerId="LiveId" clId="{D5C2B1E3-3E17-44F0-8B7A-9E0928E1AB27}" dt="2024-09-26T08:06:16.519" v="2506" actId="1076"/>
          <ac:spMkLst>
            <pc:docMk/>
            <pc:sldMk cId="533037609" sldId="306"/>
            <ac:spMk id="53" creationId="{2E13A1DA-7852-C14C-0C44-FEDC3426BC9B}"/>
          </ac:spMkLst>
        </pc:spChg>
        <pc:spChg chg="add mod">
          <ac:chgData name="Georgi Ivanov" userId="7e1b55540891ebeb" providerId="LiveId" clId="{D5C2B1E3-3E17-44F0-8B7A-9E0928E1AB27}" dt="2024-09-26T08:06:16.519" v="2506" actId="1076"/>
          <ac:spMkLst>
            <pc:docMk/>
            <pc:sldMk cId="533037609" sldId="306"/>
            <ac:spMk id="54" creationId="{3822E61F-8769-DC33-2533-3FC5B62F51F8}"/>
          </ac:spMkLst>
        </pc:spChg>
        <pc:spChg chg="add mod">
          <ac:chgData name="Georgi Ivanov" userId="7e1b55540891ebeb" providerId="LiveId" clId="{D5C2B1E3-3E17-44F0-8B7A-9E0928E1AB27}" dt="2024-09-26T08:02:11.022" v="2484" actId="164"/>
          <ac:spMkLst>
            <pc:docMk/>
            <pc:sldMk cId="533037609" sldId="306"/>
            <ac:spMk id="55" creationId="{48F7B265-C444-CEA4-70C7-617EFAC348DE}"/>
          </ac:spMkLst>
        </pc:spChg>
        <pc:spChg chg="add mod">
          <ac:chgData name="Georgi Ivanov" userId="7e1b55540891ebeb" providerId="LiveId" clId="{D5C2B1E3-3E17-44F0-8B7A-9E0928E1AB27}" dt="2024-09-26T08:02:11.022" v="2484" actId="164"/>
          <ac:spMkLst>
            <pc:docMk/>
            <pc:sldMk cId="533037609" sldId="306"/>
            <ac:spMk id="56" creationId="{B0B1641E-4104-29E0-E3EF-B800B1F33E35}"/>
          </ac:spMkLst>
        </pc:spChg>
        <pc:spChg chg="add mod">
          <ac:chgData name="Georgi Ivanov" userId="7e1b55540891ebeb" providerId="LiveId" clId="{D5C2B1E3-3E17-44F0-8B7A-9E0928E1AB27}" dt="2024-09-26T08:02:11.022" v="2484" actId="164"/>
          <ac:spMkLst>
            <pc:docMk/>
            <pc:sldMk cId="533037609" sldId="306"/>
            <ac:spMk id="57" creationId="{F979CCA2-A25C-CBDB-F0D0-5C203551B054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59" creationId="{0EA7BEBA-4867-8232-BC4C-3BF44F8311D3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60" creationId="{539F17CE-7019-84BD-E183-4AD969F59B5B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61" creationId="{F855838B-E3CE-7BB3-502D-DE764F1866BD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62" creationId="{E757ED09-42E8-0E89-4C5C-10FD70AF058C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63" creationId="{A4D13453-A5D5-1B39-19DC-D0D477FD23EA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48" creationId="{F7F292A1-E8C7-CB32-1F22-0E886DDF5CD5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49" creationId="{FB2B5A4B-3781-DE21-4CD1-ECEA080AB177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1" creationId="{FD9A3745-24D7-1345-57D2-778313F59235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2" creationId="{A11BAF3D-AC8D-8BDA-CD3A-5AB97407F47C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3" creationId="{E60FC808-121D-C97D-A754-0E75EF8CC571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4" creationId="{80AF5BBB-3F42-8A53-68EE-B256655D655B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5" creationId="{A25547B0-686A-956F-3900-14FFE4890ED0}"/>
          </ac:spMkLst>
        </pc:spChg>
        <pc:spChg chg="add mod">
          <ac:chgData name="Georgi Ivanov" userId="7e1b55540891ebeb" providerId="LiveId" clId="{D5C2B1E3-3E17-44F0-8B7A-9E0928E1AB27}" dt="2024-09-26T08:02:11.022" v="2484" actId="164"/>
          <ac:spMkLst>
            <pc:docMk/>
            <pc:sldMk cId="533037609" sldId="306"/>
            <ac:spMk id="2056" creationId="{4E3BEE08-68F9-4676-61D9-F3EBC6C3D05C}"/>
          </ac:spMkLst>
        </pc:spChg>
        <pc:spChg chg="add mod">
          <ac:chgData name="Georgi Ivanov" userId="7e1b55540891ebeb" providerId="LiveId" clId="{D5C2B1E3-3E17-44F0-8B7A-9E0928E1AB27}" dt="2024-09-26T08:09:46.095" v="2576" actId="14100"/>
          <ac:spMkLst>
            <pc:docMk/>
            <pc:sldMk cId="533037609" sldId="306"/>
            <ac:spMk id="2058" creationId="{6DE964B7-68B8-7CA4-846F-7BF2F75CFE7D}"/>
          </ac:spMkLst>
        </pc:spChg>
        <pc:spChg chg="add mod">
          <ac:chgData name="Georgi Ivanov" userId="7e1b55540891ebeb" providerId="LiveId" clId="{D5C2B1E3-3E17-44F0-8B7A-9E0928E1AB27}" dt="2024-09-26T08:09:55.738" v="2577" actId="14100"/>
          <ac:spMkLst>
            <pc:docMk/>
            <pc:sldMk cId="533037609" sldId="306"/>
            <ac:spMk id="2059" creationId="{F801CB75-769C-D145-3164-8BCA11DA197C}"/>
          </ac:spMkLst>
        </pc:spChg>
        <pc:spChg chg="add del mod">
          <ac:chgData name="Georgi Ivanov" userId="7e1b55540891ebeb" providerId="LiveId" clId="{D5C2B1E3-3E17-44F0-8B7A-9E0928E1AB27}" dt="2024-09-26T08:06:48.476" v="2514" actId="478"/>
          <ac:spMkLst>
            <pc:docMk/>
            <pc:sldMk cId="533037609" sldId="306"/>
            <ac:spMk id="2063" creationId="{3714E7F3-608B-C1B4-6F3C-12EDC12D4793}"/>
          </ac:spMkLst>
        </pc:spChg>
        <pc:spChg chg="add del mod">
          <ac:chgData name="Georgi Ivanov" userId="7e1b55540891ebeb" providerId="LiveId" clId="{D5C2B1E3-3E17-44F0-8B7A-9E0928E1AB27}" dt="2024-09-26T08:07:05.488" v="2517" actId="478"/>
          <ac:spMkLst>
            <pc:docMk/>
            <pc:sldMk cId="533037609" sldId="306"/>
            <ac:spMk id="2064" creationId="{4E13946B-9EB5-7F88-ED7D-94D5C6090D95}"/>
          </ac:spMkLst>
        </pc:spChg>
        <pc:spChg chg="add mod">
          <ac:chgData name="Georgi Ivanov" userId="7e1b55540891ebeb" providerId="LiveId" clId="{D5C2B1E3-3E17-44F0-8B7A-9E0928E1AB27}" dt="2024-09-26T08:23:06.304" v="2838" actId="1076"/>
          <ac:spMkLst>
            <pc:docMk/>
            <pc:sldMk cId="533037609" sldId="306"/>
            <ac:spMk id="2065" creationId="{554707AD-820D-59B0-2BE1-998BA127E0F9}"/>
          </ac:spMkLst>
        </pc:spChg>
        <pc:spChg chg="add 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2066" creationId="{C47B7FEE-892C-6CDB-2809-01030A8B509C}"/>
          </ac:spMkLst>
        </pc:spChg>
        <pc:spChg chg="add mod">
          <ac:chgData name="Georgi Ivanov" userId="7e1b55540891ebeb" providerId="LiveId" clId="{D5C2B1E3-3E17-44F0-8B7A-9E0928E1AB27}" dt="2024-09-26T08:22:49.072" v="2835" actId="1076"/>
          <ac:spMkLst>
            <pc:docMk/>
            <pc:sldMk cId="533037609" sldId="306"/>
            <ac:spMk id="2067" creationId="{289D8543-FB4B-2075-CC01-036ACCD94B0F}"/>
          </ac:spMkLst>
        </pc:spChg>
        <pc:grpChg chg="add mod">
          <ac:chgData name="Georgi Ivanov" userId="7e1b55540891ebeb" providerId="LiveId" clId="{D5C2B1E3-3E17-44F0-8B7A-9E0928E1AB27}" dt="2024-09-26T08:21:52.933" v="2821" actId="1076"/>
          <ac:grpSpMkLst>
            <pc:docMk/>
            <pc:sldMk cId="533037609" sldId="306"/>
            <ac:grpSpMk id="8" creationId="{7BA130D8-B452-933E-E783-2365E14A4B0B}"/>
          </ac:grpSpMkLst>
        </pc:grpChg>
        <pc:grpChg chg="del">
          <ac:chgData name="Georgi Ivanov" userId="7e1b55540891ebeb" providerId="LiveId" clId="{D5C2B1E3-3E17-44F0-8B7A-9E0928E1AB27}" dt="2024-09-26T07:42:50.019" v="2151" actId="478"/>
          <ac:grpSpMkLst>
            <pc:docMk/>
            <pc:sldMk cId="533037609" sldId="306"/>
            <ac:grpSpMk id="14" creationId="{93FF40BB-26DA-E3DD-6351-24DE54E3BD81}"/>
          </ac:grpSpMkLst>
        </pc:grpChg>
        <pc:grpChg chg="add mod">
          <ac:chgData name="Georgi Ivanov" userId="7e1b55540891ebeb" providerId="LiveId" clId="{D5C2B1E3-3E17-44F0-8B7A-9E0928E1AB27}" dt="2024-09-26T08:01:13.926" v="2466" actId="1076"/>
          <ac:grpSpMkLst>
            <pc:docMk/>
            <pc:sldMk cId="533037609" sldId="306"/>
            <ac:grpSpMk id="23" creationId="{3D052801-36B4-487C-6C20-A2573DF55DCD}"/>
          </ac:grpSpMkLst>
        </pc:grpChg>
        <pc:grpChg chg="del mod">
          <ac:chgData name="Georgi Ivanov" userId="7e1b55540891ebeb" providerId="LiveId" clId="{D5C2B1E3-3E17-44F0-8B7A-9E0928E1AB27}" dt="2024-09-26T07:46:13.769" v="2202" actId="478"/>
          <ac:grpSpMkLst>
            <pc:docMk/>
            <pc:sldMk cId="533037609" sldId="306"/>
            <ac:grpSpMk id="31" creationId="{1FFC8AE4-5582-19C0-DED3-63D8270B8571}"/>
          </ac:grpSpMkLst>
        </pc:grpChg>
        <pc:grpChg chg="add del mod">
          <ac:chgData name="Georgi Ivanov" userId="7e1b55540891ebeb" providerId="LiveId" clId="{D5C2B1E3-3E17-44F0-8B7A-9E0928E1AB27}" dt="2024-09-26T08:01:22.896" v="2468" actId="478"/>
          <ac:grpSpMkLst>
            <pc:docMk/>
            <pc:sldMk cId="533037609" sldId="306"/>
            <ac:grpSpMk id="43" creationId="{D1E559CB-88B6-DA2F-D450-59C8C7718BDB}"/>
          </ac:grpSpMkLst>
        </pc:grpChg>
        <pc:grpChg chg="add mod">
          <ac:chgData name="Georgi Ivanov" userId="7e1b55540891ebeb" providerId="LiveId" clId="{D5C2B1E3-3E17-44F0-8B7A-9E0928E1AB27}" dt="2024-09-26T08:02:11.022" v="2484" actId="164"/>
          <ac:grpSpMkLst>
            <pc:docMk/>
            <pc:sldMk cId="533037609" sldId="306"/>
            <ac:grpSpMk id="58" creationId="{F5162046-BF55-16D1-C778-00B74E8C2AD9}"/>
          </ac:grpSpMkLst>
        </pc:grpChg>
        <pc:grpChg chg="add mod">
          <ac:chgData name="Georgi Ivanov" userId="7e1b55540891ebeb" providerId="LiveId" clId="{D5C2B1E3-3E17-44F0-8B7A-9E0928E1AB27}" dt="2024-09-26T08:02:11.022" v="2484" actId="164"/>
          <ac:grpSpMkLst>
            <pc:docMk/>
            <pc:sldMk cId="533037609" sldId="306"/>
            <ac:grpSpMk id="2057" creationId="{1A6D87DC-BE9E-88EA-423F-218541B67B6C}"/>
          </ac:grpSpMkLst>
        </pc:grpChg>
        <pc:grpChg chg="add mod">
          <ac:chgData name="Georgi Ivanov" userId="7e1b55540891ebeb" providerId="LiveId" clId="{D5C2B1E3-3E17-44F0-8B7A-9E0928E1AB27}" dt="2024-09-26T08:22:49.072" v="2835" actId="1076"/>
          <ac:grpSpMkLst>
            <pc:docMk/>
            <pc:sldMk cId="533037609" sldId="306"/>
            <ac:grpSpMk id="2060" creationId="{27812AF3-C333-6385-08C1-BC8FB09934C8}"/>
          </ac:grpSpMkLst>
        </pc:grpChg>
        <pc:grpChg chg="add mod">
          <ac:chgData name="Georgi Ivanov" userId="7e1b55540891ebeb" providerId="LiveId" clId="{D5C2B1E3-3E17-44F0-8B7A-9E0928E1AB27}" dt="2024-09-26T08:22:21.482" v="2828" actId="164"/>
          <ac:grpSpMkLst>
            <pc:docMk/>
            <pc:sldMk cId="533037609" sldId="306"/>
            <ac:grpSpMk id="2068" creationId="{04C83C1B-FE55-B65E-DB2B-63886AD26734}"/>
          </ac:grpSpMkLst>
        </pc:grpChg>
        <pc:grpChg chg="add mod">
          <ac:chgData name="Georgi Ivanov" userId="7e1b55540891ebeb" providerId="LiveId" clId="{D5C2B1E3-3E17-44F0-8B7A-9E0928E1AB27}" dt="2024-09-26T08:22:49.072" v="2835" actId="1076"/>
          <ac:grpSpMkLst>
            <pc:docMk/>
            <pc:sldMk cId="533037609" sldId="306"/>
            <ac:grpSpMk id="2069" creationId="{056010CF-4FB7-72EA-11D2-141139A127B6}"/>
          </ac:grpSpMkLst>
        </pc:grpChg>
        <pc:picChg chg="add mod">
          <ac:chgData name="Georgi Ivanov" userId="7e1b55540891ebeb" providerId="LiveId" clId="{D5C2B1E3-3E17-44F0-8B7A-9E0928E1AB27}" dt="2024-09-26T08:21:52.933" v="2821" actId="1076"/>
          <ac:picMkLst>
            <pc:docMk/>
            <pc:sldMk cId="533037609" sldId="306"/>
            <ac:picMk id="5" creationId="{9C2B8AE2-14DC-AD23-2919-F06DDE649FE8}"/>
          </ac:picMkLst>
        </pc:picChg>
        <pc:picChg chg="add mod">
          <ac:chgData name="Georgi Ivanov" userId="7e1b55540891ebeb" providerId="LiveId" clId="{D5C2B1E3-3E17-44F0-8B7A-9E0928E1AB27}" dt="2024-09-26T08:21:52.933" v="2821" actId="1076"/>
          <ac:picMkLst>
            <pc:docMk/>
            <pc:sldMk cId="533037609" sldId="306"/>
            <ac:picMk id="6" creationId="{517C7BDF-6FB0-E93F-5851-8D3F4AF1E4E1}"/>
          </ac:picMkLst>
        </pc:picChg>
        <pc:picChg chg="add mod">
          <ac:chgData name="Georgi Ivanov" userId="7e1b55540891ebeb" providerId="LiveId" clId="{D5C2B1E3-3E17-44F0-8B7A-9E0928E1AB27}" dt="2024-09-26T08:21:52.933" v="2821" actId="1076"/>
          <ac:picMkLst>
            <pc:docMk/>
            <pc:sldMk cId="533037609" sldId="306"/>
            <ac:picMk id="7" creationId="{CC88A7EA-D065-DAD9-A4B5-C03B53249F76}"/>
          </ac:picMkLst>
        </pc:picChg>
        <pc:picChg chg="mod">
          <ac:chgData name="Georgi Ivanov" userId="7e1b55540891ebeb" providerId="LiveId" clId="{D5C2B1E3-3E17-44F0-8B7A-9E0928E1AB27}" dt="2024-09-26T08:21:52.933" v="2821" actId="1076"/>
          <ac:picMkLst>
            <pc:docMk/>
            <pc:sldMk cId="533037609" sldId="306"/>
            <ac:picMk id="15" creationId="{FCC4914A-A8C0-9BC5-4089-27074B66A779}"/>
          </ac:picMkLst>
        </pc:picChg>
        <pc:picChg chg="mod">
          <ac:chgData name="Georgi Ivanov" userId="7e1b55540891ebeb" providerId="LiveId" clId="{D5C2B1E3-3E17-44F0-8B7A-9E0928E1AB27}" dt="2024-09-26T07:43:10.817" v="2155" actId="1076"/>
          <ac:picMkLst>
            <pc:docMk/>
            <pc:sldMk cId="533037609" sldId="306"/>
            <ac:picMk id="29" creationId="{589B69B8-B088-4632-7BDA-773B26D65CB9}"/>
          </ac:picMkLst>
        </pc:picChg>
        <pc:picChg chg="mod">
          <ac:chgData name="Georgi Ivanov" userId="7e1b55540891ebeb" providerId="LiveId" clId="{D5C2B1E3-3E17-44F0-8B7A-9E0928E1AB27}" dt="2024-09-26T07:43:10.817" v="2155" actId="1076"/>
          <ac:picMkLst>
            <pc:docMk/>
            <pc:sldMk cId="533037609" sldId="306"/>
            <ac:picMk id="30" creationId="{804CD20B-D34E-E250-FE43-7F9A9816001B}"/>
          </ac:picMkLst>
        </pc:picChg>
        <pc:picChg chg="add mod">
          <ac:chgData name="Georgi Ivanov" userId="7e1b55540891ebeb" providerId="LiveId" clId="{D5C2B1E3-3E17-44F0-8B7A-9E0928E1AB27}" dt="2024-09-26T08:06:16.519" v="2506" actId="1076"/>
          <ac:picMkLst>
            <pc:docMk/>
            <pc:sldMk cId="533037609" sldId="306"/>
            <ac:picMk id="50" creationId="{3D8DB2C7-41BF-F19B-6274-7171139B9E55}"/>
          </ac:picMkLst>
        </pc:picChg>
        <pc:picChg chg="mod">
          <ac:chgData name="Georgi Ivanov" userId="7e1b55540891ebeb" providerId="LiveId" clId="{D5C2B1E3-3E17-44F0-8B7A-9E0928E1AB27}" dt="2024-09-26T07:43:10.817" v="2155" actId="1076"/>
          <ac:picMkLst>
            <pc:docMk/>
            <pc:sldMk cId="533037609" sldId="306"/>
            <ac:picMk id="2050" creationId="{5E82655F-7EC7-C105-EAA2-389E5E131EBC}"/>
          </ac:picMkLst>
        </pc:picChg>
        <pc:picChg chg="mod">
          <ac:chgData name="Georgi Ivanov" userId="7e1b55540891ebeb" providerId="LiveId" clId="{D5C2B1E3-3E17-44F0-8B7A-9E0928E1AB27}" dt="2024-09-26T08:22:49.072" v="2835" actId="1076"/>
          <ac:picMkLst>
            <pc:docMk/>
            <pc:sldMk cId="533037609" sldId="306"/>
            <ac:picMk id="2061" creationId="{0EA46D97-700E-B7C4-AD88-7CD9A56E662F}"/>
          </ac:picMkLst>
        </pc:picChg>
        <pc:picChg chg="mod">
          <ac:chgData name="Georgi Ivanov" userId="7e1b55540891ebeb" providerId="LiveId" clId="{D5C2B1E3-3E17-44F0-8B7A-9E0928E1AB27}" dt="2024-09-26T08:22:49.072" v="2835" actId="1076"/>
          <ac:picMkLst>
            <pc:docMk/>
            <pc:sldMk cId="533037609" sldId="306"/>
            <ac:picMk id="2062" creationId="{45C70D13-C710-067D-62BB-2C1A1DE2D180}"/>
          </ac:picMkLst>
        </pc:picChg>
        <pc:picChg chg="add mod">
          <ac:chgData name="Georgi Ivanov" userId="7e1b55540891ebeb" providerId="LiveId" clId="{D5C2B1E3-3E17-44F0-8B7A-9E0928E1AB27}" dt="2024-09-26T07:58:11.405" v="2391" actId="1076"/>
          <ac:picMkLst>
            <pc:docMk/>
            <pc:sldMk cId="533037609" sldId="306"/>
            <ac:picMk id="16386" creationId="{54088610-96F7-0299-5CFD-CE46B4331C85}"/>
          </ac:picMkLst>
        </pc:picChg>
      </pc:sldChg>
      <pc:sldChg chg="modSp add mod ord">
        <pc:chgData name="Georgi Ivanov" userId="7e1b55540891ebeb" providerId="LiveId" clId="{D5C2B1E3-3E17-44F0-8B7A-9E0928E1AB27}" dt="2024-09-26T08:51:28.608" v="3112"/>
        <pc:sldMkLst>
          <pc:docMk/>
          <pc:sldMk cId="1035094951" sldId="307"/>
        </pc:sldMkLst>
        <pc:spChg chg="mod">
          <ac:chgData name="Georgi Ivanov" userId="7e1b55540891ebeb" providerId="LiveId" clId="{D5C2B1E3-3E17-44F0-8B7A-9E0928E1AB27}" dt="2024-09-25T13:26:31.972" v="1575" actId="20577"/>
          <ac:spMkLst>
            <pc:docMk/>
            <pc:sldMk cId="1035094951" sldId="307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51:28.608" v="3112"/>
          <ac:spMkLst>
            <pc:docMk/>
            <pc:sldMk cId="1035094951" sldId="307"/>
            <ac:spMk id="3" creationId="{E3616238-46A4-D94F-D84B-7DE0BA6D908A}"/>
          </ac:spMkLst>
        </pc:spChg>
      </pc:sldChg>
      <pc:sldChg chg="modSp add del mod">
        <pc:chgData name="Georgi Ivanov" userId="7e1b55540891ebeb" providerId="LiveId" clId="{D5C2B1E3-3E17-44F0-8B7A-9E0928E1AB27}" dt="2024-09-26T07:42:28.358" v="2150" actId="47"/>
        <pc:sldMkLst>
          <pc:docMk/>
          <pc:sldMk cId="2118658209" sldId="308"/>
        </pc:sldMkLst>
        <pc:spChg chg="mod">
          <ac:chgData name="Georgi Ivanov" userId="7e1b55540891ebeb" providerId="LiveId" clId="{D5C2B1E3-3E17-44F0-8B7A-9E0928E1AB27}" dt="2024-09-25T13:27:09.276" v="1577" actId="20577"/>
          <ac:spMkLst>
            <pc:docMk/>
            <pc:sldMk cId="2118658209" sldId="308"/>
            <ac:spMk id="2" creationId="{DD69C8D6-1353-8956-3F07-99E94229D42C}"/>
          </ac:spMkLst>
        </pc:spChg>
      </pc:sldChg>
      <pc:sldChg chg="delSp modSp add mod">
        <pc:chgData name="Georgi Ivanov" userId="7e1b55540891ebeb" providerId="LiveId" clId="{D5C2B1E3-3E17-44F0-8B7A-9E0928E1AB27}" dt="2024-09-26T08:45:03.363" v="2973" actId="20577"/>
        <pc:sldMkLst>
          <pc:docMk/>
          <pc:sldMk cId="783060905" sldId="309"/>
        </pc:sldMkLst>
        <pc:spChg chg="mod">
          <ac:chgData name="Georgi Ivanov" userId="7e1b55540891ebeb" providerId="LiveId" clId="{D5C2B1E3-3E17-44F0-8B7A-9E0928E1AB27}" dt="2024-09-26T08:33:26.700" v="2892" actId="20577"/>
          <ac:spMkLst>
            <pc:docMk/>
            <pc:sldMk cId="783060905" sldId="309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45:03.363" v="2973" actId="20577"/>
          <ac:spMkLst>
            <pc:docMk/>
            <pc:sldMk cId="783060905" sldId="309"/>
            <ac:spMk id="3" creationId="{E3616238-46A4-D94F-D84B-7DE0BA6D908A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0" creationId="{39C09223-D36A-E074-1AA6-0CB54D96C302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1" creationId="{39CEC175-E2F9-A40F-65CB-92B68AEF21E7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6" creationId="{E970DDF6-1DAA-110B-AD62-F1DB1D9FB745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8" creationId="{4804B82E-E9C1-DD3E-AEBA-9A64F4356BD5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9" creationId="{4BBAE00B-5B22-3315-FC13-44FF9745CE42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24" creationId="{C2FC9430-89FA-B6F5-FF73-09BF4CD95552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25" creationId="{2E96F421-5C8F-D7AC-CB8E-03B2D301D14F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26" creationId="{0D0C9F23-91D5-336C-C039-30C996918F95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34" creationId="{F24EF291-C501-D101-0029-071EE9043CF4}"/>
          </ac:spMkLst>
        </pc:spChg>
        <pc:grpChg chg="del">
          <ac:chgData name="Georgi Ivanov" userId="7e1b55540891ebeb" providerId="LiveId" clId="{D5C2B1E3-3E17-44F0-8B7A-9E0928E1AB27}" dt="2024-09-26T08:33:36.292" v="2895" actId="478"/>
          <ac:grpSpMkLst>
            <pc:docMk/>
            <pc:sldMk cId="783060905" sldId="309"/>
            <ac:grpSpMk id="14" creationId="{93FF40BB-26DA-E3DD-6351-24DE54E3BD81}"/>
          </ac:grpSpMkLst>
        </pc:grpChg>
        <pc:grpChg chg="del">
          <ac:chgData name="Georgi Ivanov" userId="7e1b55540891ebeb" providerId="LiveId" clId="{D5C2B1E3-3E17-44F0-8B7A-9E0928E1AB27}" dt="2024-09-26T08:33:36.292" v="2895" actId="478"/>
          <ac:grpSpMkLst>
            <pc:docMk/>
            <pc:sldMk cId="783060905" sldId="309"/>
            <ac:grpSpMk id="31" creationId="{1FFC8AE4-5582-19C0-DED3-63D8270B8571}"/>
          </ac:grpSpMkLst>
        </pc:grpChg>
        <pc:picChg chg="del">
          <ac:chgData name="Georgi Ivanov" userId="7e1b55540891ebeb" providerId="LiveId" clId="{D5C2B1E3-3E17-44F0-8B7A-9E0928E1AB27}" dt="2024-09-26T08:33:36.292" v="2895" actId="478"/>
          <ac:picMkLst>
            <pc:docMk/>
            <pc:sldMk cId="783060905" sldId="309"/>
            <ac:picMk id="15" creationId="{FCC4914A-A8C0-9BC5-4089-27074B66A779}"/>
          </ac:picMkLst>
        </pc:picChg>
      </pc:sldChg>
      <pc:sldChg chg="modSp add mod ord">
        <pc:chgData name="Georgi Ivanov" userId="7e1b55540891ebeb" providerId="LiveId" clId="{D5C2B1E3-3E17-44F0-8B7A-9E0928E1AB27}" dt="2024-09-26T08:45:33.082" v="2983" actId="20577"/>
        <pc:sldMkLst>
          <pc:docMk/>
          <pc:sldMk cId="2771187703" sldId="310"/>
        </pc:sldMkLst>
        <pc:spChg chg="mod">
          <ac:chgData name="Georgi Ivanov" userId="7e1b55540891ebeb" providerId="LiveId" clId="{D5C2B1E3-3E17-44F0-8B7A-9E0928E1AB27}" dt="2024-09-25T13:29:03.790" v="1599" actId="20577"/>
          <ac:spMkLst>
            <pc:docMk/>
            <pc:sldMk cId="2771187703" sldId="310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45:33.082" v="2983" actId="20577"/>
          <ac:spMkLst>
            <pc:docMk/>
            <pc:sldMk cId="2771187703" sldId="310"/>
            <ac:spMk id="3" creationId="{E3616238-46A4-D94F-D84B-7DE0BA6D908A}"/>
          </ac:spMkLst>
        </pc:spChg>
      </pc:sldChg>
      <pc:sldChg chg="modSp add del mod ord">
        <pc:chgData name="Georgi Ivanov" userId="7e1b55540891ebeb" providerId="LiveId" clId="{D5C2B1E3-3E17-44F0-8B7A-9E0928E1AB27}" dt="2024-09-26T08:51:26.113" v="3111" actId="47"/>
        <pc:sldMkLst>
          <pc:docMk/>
          <pc:sldMk cId="1281804577" sldId="311"/>
        </pc:sldMkLst>
        <pc:spChg chg="mod">
          <ac:chgData name="Georgi Ivanov" userId="7e1b55540891ebeb" providerId="LiveId" clId="{D5C2B1E3-3E17-44F0-8B7A-9E0928E1AB27}" dt="2024-09-25T13:29:18.871" v="1606" actId="20577"/>
          <ac:spMkLst>
            <pc:docMk/>
            <pc:sldMk cId="1281804577" sldId="311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51:16.410" v="3110" actId="20577"/>
          <ac:spMkLst>
            <pc:docMk/>
            <pc:sldMk cId="1281804577" sldId="311"/>
            <ac:spMk id="3" creationId="{E3616238-46A4-D94F-D84B-7DE0BA6D908A}"/>
          </ac:spMkLst>
        </pc:spChg>
      </pc:sldChg>
      <pc:sldChg chg="addSp delSp modSp add mod">
        <pc:chgData name="Georgi Ivanov" userId="7e1b55540891ebeb" providerId="LiveId" clId="{D5C2B1E3-3E17-44F0-8B7A-9E0928E1AB27}" dt="2024-09-25T14:10:11.013" v="1812" actId="1076"/>
        <pc:sldMkLst>
          <pc:docMk/>
          <pc:sldMk cId="597583266" sldId="312"/>
        </pc:sldMkLst>
        <pc:spChg chg="mod">
          <ac:chgData name="Georgi Ivanov" userId="7e1b55540891ebeb" providerId="LiveId" clId="{D5C2B1E3-3E17-44F0-8B7A-9E0928E1AB27}" dt="2024-09-25T13:29:47.437" v="1609" actId="27636"/>
          <ac:spMkLst>
            <pc:docMk/>
            <pc:sldMk cId="597583266" sldId="312"/>
            <ac:spMk id="2" creationId="{65A1F34D-EB98-4CAD-A1DE-7AC573B109A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" creationId="{9B0C2225-89A1-3942-7063-C4FB1CC7D5C3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1" creationId="{B33BECDC-C83E-9D06-0591-4D47DE44D2A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2" creationId="{3D427BED-1B37-6503-66FB-1CD1ECAD8F9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7" creationId="{759BAD90-0AEC-2EB4-8211-445E791B881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8" creationId="{1182C66C-412A-5187-0886-C3490AE4F28C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9" creationId="{5698948A-D63C-2BAC-833A-526065E0489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0" creationId="{6FC605CF-929B-7ED9-E0DA-134CA488D3C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1" creationId="{7E325A94-5D43-BE82-569E-441987A06809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2" creationId="{1007F724-260B-C862-712E-49A0F257650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3" creationId="{4C74892A-B592-1ADD-A885-BDFB95589A0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4" creationId="{0BFE9FC9-D57C-351B-C303-62B8DE7B30A3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5" creationId="{C56E306B-BD63-FC20-049E-C9F554F7573F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7" creationId="{E76460C6-ADCF-F32E-0397-3065E252BE27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0" creationId="{A3D78622-6BE1-5761-480B-75B2C1424631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1" creationId="{3D4B7E35-9741-7678-0E61-48CD73065878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2" creationId="{C0E0E3F1-A724-2A0D-9F6D-4BF495D2EBD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3" creationId="{49975CB1-6C4C-3EF0-0015-6C0949581A67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4" creationId="{D542734E-49A3-2FAE-8AFC-99136DB70063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5" creationId="{E4142DDC-7D30-8FA5-D8B6-DE23DFA59D34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6" creationId="{EAF11130-CE52-2E8B-6433-B15C60F6D546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1" creationId="{6A90B05D-0528-2F6B-D302-D2FF98E6BF2C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2" creationId="{E825089F-34C3-F123-58F6-DDB798DD8D2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4" creationId="{B23F46BC-6B86-D0ED-F56F-F181C97140E5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5" creationId="{00EB02FA-B9C5-2A27-8895-919DA3E6925F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6" creationId="{3DCA9230-A55C-AC87-873E-A2212159A23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7" creationId="{1AB64E81-FC96-EB97-4CD4-2D28CA5E21F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8" creationId="{239F620A-5F73-D7E7-3603-F607509FC1D7}"/>
          </ac:spMkLst>
        </pc:spChg>
        <pc:spChg chg="mod">
          <ac:chgData name="Georgi Ivanov" userId="7e1b55540891ebeb" providerId="LiveId" clId="{D5C2B1E3-3E17-44F0-8B7A-9E0928E1AB27}" dt="2024-09-25T13:29:55.013" v="1611" actId="6549"/>
          <ac:spMkLst>
            <pc:docMk/>
            <pc:sldMk cId="597583266" sldId="312"/>
            <ac:spMk id="59" creationId="{01381D6B-0A38-4E06-8506-A342F6A017D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60" creationId="{3913D318-7088-8049-D83C-755FFC9B6A35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64" creationId="{ECE458BD-EA47-D0EC-5002-16F5D44C501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65" creationId="{920B1FBC-AA52-1A72-B7B1-E0318EC19C6C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69" creationId="{A757410D-18BF-EC61-5AA2-95550C08C781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0" creationId="{44FCFE9C-5488-4628-9172-DD024CA2B81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1" creationId="{CB2AA025-2EFB-917C-02A4-7F6984F605F8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2" creationId="{446B356C-3AED-53F6-0442-949434C9508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3" creationId="{3142DB72-01D1-9315-969B-10BEEC561478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4" creationId="{C208AA75-17DF-4884-08E2-43C922A42812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5" creationId="{EBB87C99-AEED-2525-7A7F-D7ED48FC4802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6" creationId="{51EBCDAD-F759-CFB1-2444-D94FB442C386}"/>
          </ac:spMkLst>
        </pc:spChg>
        <pc:spChg chg="mod">
          <ac:chgData name="Georgi Ivanov" userId="7e1b55540891ebeb" providerId="LiveId" clId="{D5C2B1E3-3E17-44F0-8B7A-9E0928E1AB27}" dt="2024-09-25T13:29:55.768" v="1612" actId="1076"/>
          <ac:spMkLst>
            <pc:docMk/>
            <pc:sldMk cId="597583266" sldId="312"/>
            <ac:spMk id="77" creationId="{6FF0B403-FADC-424A-A227-59D6B88F2456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2" creationId="{59079928-4DE9-9B5B-A774-197F89C5A6A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3" creationId="{372CEE38-B425-4861-D6CB-44E6A2761F2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4" creationId="{4FE4962B-35CC-B22A-64D3-71B81B57B72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5" creationId="{611A1CA5-7C4E-F05A-9030-0D9A88D9F31F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6" creationId="{28D56F2D-69C7-8EC9-3D05-CF9932AAAC8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7" creationId="{B7B0BA18-8645-310F-93BF-857932DCCB4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8" creationId="{6C07D9F3-008D-6DE7-7F20-B7F57025E523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9" creationId="{5EC10B6C-5399-FCAF-682C-DD7586694D4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0" creationId="{D6167F22-5E99-DD6F-180B-CE43DAC2680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1" creationId="{B13134A4-34BA-ED55-91FE-04E793798551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2" creationId="{C07F2A62-5C1F-A9A8-D2F5-07E222AD597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3" creationId="{ED884486-A0AA-CB16-AA25-1A1C239EA25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4" creationId="{503C717E-AD5B-AA0E-95DC-99A8972B180C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5" creationId="{BA949D84-860D-ACDD-CE6E-2C7E7AFCC4E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6" creationId="{A6ED1CD1-B0BF-780B-CAB4-CFC6FDF4F24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7" creationId="{B8618363-568A-63AB-A554-F231BB03A46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8" creationId="{2E749551-46E9-B4A6-70B9-787924FE1B6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9" creationId="{2C407AB5-EC5E-CDAE-5EC2-0DE8176D662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0" creationId="{C73B4997-53E8-8915-A02D-628AFDC00C08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1" creationId="{013750E3-D584-9089-62B9-7A3A50D6FB92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2" creationId="{7509D462-AE38-590F-D3C5-70A8D76B99F5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3" creationId="{08F320B5-3DBD-BB30-2C1B-E4BA51DF8E95}"/>
          </ac:spMkLst>
        </pc:spChg>
        <pc:grpChg chg="add mod topLvl">
          <ac:chgData name="Georgi Ivanov" userId="7e1b55540891ebeb" providerId="LiveId" clId="{D5C2B1E3-3E17-44F0-8B7A-9E0928E1AB27}" dt="2024-09-25T13:32:10.805" v="1634" actId="164"/>
          <ac:grpSpMkLst>
            <pc:docMk/>
            <pc:sldMk cId="597583266" sldId="312"/>
            <ac:grpSpMk id="4" creationId="{9B4A43A2-CB6C-FA35-C5F9-32E2E1610A71}"/>
          </ac:grpSpMkLst>
        </pc:grpChg>
        <pc:grpChg chg="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5" creationId="{1781A014-B959-13E0-699E-C0BB54C08E22}"/>
          </ac:grpSpMkLst>
        </pc:grpChg>
        <pc:grpChg chg="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8" creationId="{B0E4F883-8759-0DC8-4F5E-9E7A2A3C1927}"/>
          </ac:grpSpMkLst>
        </pc:grpChg>
        <pc:grpChg chg="add mod topLvl">
          <ac:chgData name="Georgi Ivanov" userId="7e1b55540891ebeb" providerId="LiveId" clId="{D5C2B1E3-3E17-44F0-8B7A-9E0928E1AB27}" dt="2024-09-25T13:32:10.805" v="1634" actId="164"/>
          <ac:grpSpMkLst>
            <pc:docMk/>
            <pc:sldMk cId="597583266" sldId="312"/>
            <ac:grpSpMk id="66" creationId="{F0B97F7F-40F1-ACE2-A21B-BB1E8DC4EE31}"/>
          </ac:grpSpMkLst>
        </pc:grpChg>
        <pc:grpChg chg="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67" creationId="{C092E02E-AD67-702F-6B80-296DD9EE4991}"/>
          </ac:grpSpMkLst>
        </pc:grpChg>
        <pc:grpChg chg="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68" creationId="{60478DCF-8E4B-6A42-54F8-E02944CCAA90}"/>
          </ac:grpSpMkLst>
        </pc:grpChg>
        <pc:grpChg chg="add del 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104" creationId="{5522CA18-8EF2-9C4C-4276-14C8AD795E24}"/>
          </ac:grpSpMkLst>
        </pc:grpChg>
        <pc:grpChg chg="add mod">
          <ac:chgData name="Georgi Ivanov" userId="7e1b55540891ebeb" providerId="LiveId" clId="{D5C2B1E3-3E17-44F0-8B7A-9E0928E1AB27}" dt="2024-09-25T14:10:11.013" v="1812" actId="1076"/>
          <ac:grpSpMkLst>
            <pc:docMk/>
            <pc:sldMk cId="597583266" sldId="312"/>
            <ac:grpSpMk id="105" creationId="{90607832-4B84-32D5-692D-6AE7BD412C1A}"/>
          </ac:grpSpMkLst>
        </pc:grpChg>
        <pc:picChg chg="del">
          <ac:chgData name="Georgi Ivanov" userId="7e1b55540891ebeb" providerId="LiveId" clId="{D5C2B1E3-3E17-44F0-8B7A-9E0928E1AB27}" dt="2024-09-25T13:30:19.062" v="1613" actId="478"/>
          <ac:picMkLst>
            <pc:docMk/>
            <pc:sldMk cId="597583266" sldId="312"/>
            <ac:picMk id="3" creationId="{DB4F0400-51F6-DEFA-BF32-6C2CE7E690FE}"/>
          </ac:picMkLst>
        </pc:picChg>
        <pc:picChg chg="mod">
          <ac:chgData name="Georgi Ivanov" userId="7e1b55540891ebeb" providerId="LiveId" clId="{D5C2B1E3-3E17-44F0-8B7A-9E0928E1AB27}" dt="2024-09-25T14:10:07.370" v="1810" actId="1076"/>
          <ac:picMkLst>
            <pc:docMk/>
            <pc:sldMk cId="597583266" sldId="312"/>
            <ac:picMk id="53" creationId="{E1377084-21E0-42A7-B144-A69CF5A6D83D}"/>
          </ac:picMkLst>
        </pc:picChg>
      </pc:sldChg>
      <pc:sldChg chg="modSp add mod">
        <pc:chgData name="Georgi Ivanov" userId="7e1b55540891ebeb" providerId="LiveId" clId="{D5C2B1E3-3E17-44F0-8B7A-9E0928E1AB27}" dt="2024-09-25T13:38:07.690" v="1808" actId="6549"/>
        <pc:sldMkLst>
          <pc:docMk/>
          <pc:sldMk cId="2974178012" sldId="313"/>
        </pc:sldMkLst>
        <pc:spChg chg="mod">
          <ac:chgData name="Georgi Ivanov" userId="7e1b55540891ebeb" providerId="LiveId" clId="{D5C2B1E3-3E17-44F0-8B7A-9E0928E1AB27}" dt="2024-09-25T13:34:04.471" v="1656" actId="20577"/>
          <ac:spMkLst>
            <pc:docMk/>
            <pc:sldMk cId="2974178012" sldId="313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5T13:38:07.690" v="1808" actId="6549"/>
          <ac:spMkLst>
            <pc:docMk/>
            <pc:sldMk cId="2974178012" sldId="313"/>
            <ac:spMk id="3" creationId="{E3616238-46A4-D94F-D84B-7DE0BA6D908A}"/>
          </ac:spMkLst>
        </pc:spChg>
      </pc:sldChg>
      <pc:sldChg chg="modSp add mod">
        <pc:chgData name="Georgi Ivanov" userId="7e1b55540891ebeb" providerId="LiveId" clId="{D5C2B1E3-3E17-44F0-8B7A-9E0928E1AB27}" dt="2024-09-25T13:35:35.393" v="1722" actId="20577"/>
        <pc:sldMkLst>
          <pc:docMk/>
          <pc:sldMk cId="4062221807" sldId="314"/>
        </pc:sldMkLst>
        <pc:spChg chg="mod">
          <ac:chgData name="Georgi Ivanov" userId="7e1b55540891ebeb" providerId="LiveId" clId="{D5C2B1E3-3E17-44F0-8B7A-9E0928E1AB27}" dt="2024-09-25T13:35:35.393" v="1722" actId="20577"/>
          <ac:spMkLst>
            <pc:docMk/>
            <pc:sldMk cId="4062221807" sldId="314"/>
            <ac:spMk id="2" creationId="{DD69C8D6-1353-8956-3F07-99E94229D42C}"/>
          </ac:spMkLst>
        </pc:spChg>
      </pc:sldChg>
      <pc:sldChg chg="modSp add mod">
        <pc:chgData name="Georgi Ivanov" userId="7e1b55540891ebeb" providerId="LiveId" clId="{D5C2B1E3-3E17-44F0-8B7A-9E0928E1AB27}" dt="2024-09-25T13:36:39.823" v="1749" actId="20577"/>
        <pc:sldMkLst>
          <pc:docMk/>
          <pc:sldMk cId="2218441124" sldId="315"/>
        </pc:sldMkLst>
        <pc:spChg chg="mod">
          <ac:chgData name="Georgi Ivanov" userId="7e1b55540891ebeb" providerId="LiveId" clId="{D5C2B1E3-3E17-44F0-8B7A-9E0928E1AB27}" dt="2024-09-25T13:36:39.823" v="1749" actId="20577"/>
          <ac:spMkLst>
            <pc:docMk/>
            <pc:sldMk cId="2218441124" sldId="315"/>
            <ac:spMk id="2" creationId="{DD69C8D6-1353-8956-3F07-99E94229D42C}"/>
          </ac:spMkLst>
        </pc:spChg>
      </pc:sldChg>
      <pc:sldChg chg="modSp add mod">
        <pc:chgData name="Georgi Ivanov" userId="7e1b55540891ebeb" providerId="LiveId" clId="{D5C2B1E3-3E17-44F0-8B7A-9E0928E1AB27}" dt="2024-09-25T13:36:56.118" v="1771" actId="20577"/>
        <pc:sldMkLst>
          <pc:docMk/>
          <pc:sldMk cId="1330836399" sldId="316"/>
        </pc:sldMkLst>
        <pc:spChg chg="mod">
          <ac:chgData name="Georgi Ivanov" userId="7e1b55540891ebeb" providerId="LiveId" clId="{D5C2B1E3-3E17-44F0-8B7A-9E0928E1AB27}" dt="2024-09-25T13:36:56.118" v="1771" actId="20577"/>
          <ac:spMkLst>
            <pc:docMk/>
            <pc:sldMk cId="1330836399" sldId="316"/>
            <ac:spMk id="2" creationId="{DD69C8D6-1353-8956-3F07-99E94229D42C}"/>
          </ac:spMkLst>
        </pc:spChg>
      </pc:sldChg>
      <pc:sldChg chg="delSp modSp add mod">
        <pc:chgData name="Georgi Ivanov" userId="7e1b55540891ebeb" providerId="LiveId" clId="{D5C2B1E3-3E17-44F0-8B7A-9E0928E1AB27}" dt="2024-09-26T08:56:51.630" v="3357" actId="20577"/>
        <pc:sldMkLst>
          <pc:docMk/>
          <pc:sldMk cId="3968225869" sldId="317"/>
        </pc:sldMkLst>
        <pc:spChg chg="mod">
          <ac:chgData name="Georgi Ivanov" userId="7e1b55540891ebeb" providerId="LiveId" clId="{D5C2B1E3-3E17-44F0-8B7A-9E0928E1AB27}" dt="2024-09-26T08:55:38.874" v="3311" actId="6549"/>
          <ac:spMkLst>
            <pc:docMk/>
            <pc:sldMk cId="3968225869" sldId="317"/>
            <ac:spMk id="2" creationId="{2A983584-8125-433F-B7FD-A6330AFCE3EC}"/>
          </ac:spMkLst>
        </pc:spChg>
        <pc:spChg chg="mod">
          <ac:chgData name="Georgi Ivanov" userId="7e1b55540891ebeb" providerId="LiveId" clId="{D5C2B1E3-3E17-44F0-8B7A-9E0928E1AB27}" dt="2024-09-26T08:54:22.972" v="3262" actId="20577"/>
          <ac:spMkLst>
            <pc:docMk/>
            <pc:sldMk cId="3968225869" sldId="317"/>
            <ac:spMk id="26" creationId="{36E732C1-2C67-4A83-94BE-81415B7B698F}"/>
          </ac:spMkLst>
        </pc:spChg>
        <pc:spChg chg="mod">
          <ac:chgData name="Georgi Ivanov" userId="7e1b55540891ebeb" providerId="LiveId" clId="{D5C2B1E3-3E17-44F0-8B7A-9E0928E1AB27}" dt="2024-09-26T08:55:54.675" v="3319" actId="20577"/>
          <ac:spMkLst>
            <pc:docMk/>
            <pc:sldMk cId="3968225869" sldId="317"/>
            <ac:spMk id="28" creationId="{04949708-1650-46EE-9E1D-BBA238AAD0CE}"/>
          </ac:spMkLst>
        </pc:spChg>
        <pc:spChg chg="del">
          <ac:chgData name="Georgi Ivanov" userId="7e1b55540891ebeb" providerId="LiveId" clId="{D5C2B1E3-3E17-44F0-8B7A-9E0928E1AB27}" dt="2024-09-26T08:11:39.165" v="2578" actId="478"/>
          <ac:spMkLst>
            <pc:docMk/>
            <pc:sldMk cId="3968225869" sldId="317"/>
            <ac:spMk id="30" creationId="{4A4458B5-D3CA-4017-966B-F7E5139F4FB8}"/>
          </ac:spMkLst>
        </pc:spChg>
        <pc:spChg chg="del mod">
          <ac:chgData name="Georgi Ivanov" userId="7e1b55540891ebeb" providerId="LiveId" clId="{D5C2B1E3-3E17-44F0-8B7A-9E0928E1AB27}" dt="2024-09-26T07:34:50.284" v="1934" actId="478"/>
          <ac:spMkLst>
            <pc:docMk/>
            <pc:sldMk cId="3968225869" sldId="317"/>
            <ac:spMk id="32" creationId="{EA345E1E-C02C-4C7A-9753-D9150403E484}"/>
          </ac:spMkLst>
        </pc:spChg>
        <pc:spChg chg="mod">
          <ac:chgData name="Georgi Ivanov" userId="7e1b55540891ebeb" providerId="LiveId" clId="{D5C2B1E3-3E17-44F0-8B7A-9E0928E1AB27}" dt="2024-09-26T08:54:40.062" v="3309" actId="14100"/>
          <ac:spMkLst>
            <pc:docMk/>
            <pc:sldMk cId="3968225869" sldId="317"/>
            <ac:spMk id="70" creationId="{8CB062A2-EF5E-4F6B-AEED-58A1A5EBE2BE}"/>
          </ac:spMkLst>
        </pc:spChg>
        <pc:spChg chg="mod">
          <ac:chgData name="Georgi Ivanov" userId="7e1b55540891ebeb" providerId="LiveId" clId="{D5C2B1E3-3E17-44F0-8B7A-9E0928E1AB27}" dt="2024-09-26T07:37:45.379" v="2082" actId="20577"/>
          <ac:spMkLst>
            <pc:docMk/>
            <pc:sldMk cId="3968225869" sldId="317"/>
            <ac:spMk id="71" creationId="{47295709-0295-482F-A07E-40FF05549F66}"/>
          </ac:spMkLst>
        </pc:spChg>
        <pc:spChg chg="del mod">
          <ac:chgData name="Georgi Ivanov" userId="7e1b55540891ebeb" providerId="LiveId" clId="{D5C2B1E3-3E17-44F0-8B7A-9E0928E1AB27}" dt="2024-09-26T08:12:09.363" v="2622" actId="478"/>
          <ac:spMkLst>
            <pc:docMk/>
            <pc:sldMk cId="3968225869" sldId="317"/>
            <ac:spMk id="72" creationId="{B2E55744-FFA5-4AAE-8A64-335E3A5D6AF2}"/>
          </ac:spMkLst>
        </pc:spChg>
        <pc:spChg chg="del">
          <ac:chgData name="Georgi Ivanov" userId="7e1b55540891ebeb" providerId="LiveId" clId="{D5C2B1E3-3E17-44F0-8B7A-9E0928E1AB27}" dt="2024-09-26T07:36:43.990" v="2032" actId="478"/>
          <ac:spMkLst>
            <pc:docMk/>
            <pc:sldMk cId="3968225869" sldId="317"/>
            <ac:spMk id="73" creationId="{77ECAF41-A868-4B2A-B240-FD4978E0CACD}"/>
          </ac:spMkLst>
        </pc:spChg>
        <pc:spChg chg="mod">
          <ac:chgData name="Georgi Ivanov" userId="7e1b55540891ebeb" providerId="LiveId" clId="{D5C2B1E3-3E17-44F0-8B7A-9E0928E1AB27}" dt="2024-09-26T08:54:46.769" v="3310" actId="14100"/>
          <ac:spMkLst>
            <pc:docMk/>
            <pc:sldMk cId="3968225869" sldId="317"/>
            <ac:spMk id="74" creationId="{45B8D857-A9C5-4F00-B990-951D6E5A400A}"/>
          </ac:spMkLst>
        </pc:spChg>
        <pc:spChg chg="mod">
          <ac:chgData name="Georgi Ivanov" userId="7e1b55540891ebeb" providerId="LiveId" clId="{D5C2B1E3-3E17-44F0-8B7A-9E0928E1AB27}" dt="2024-09-26T08:56:51.630" v="3357" actId="20577"/>
          <ac:spMkLst>
            <pc:docMk/>
            <pc:sldMk cId="3968225869" sldId="317"/>
            <ac:spMk id="75" creationId="{D5935D29-AC8D-4F44-971A-8BC019DC40F3}"/>
          </ac:spMkLst>
        </pc:spChg>
        <pc:spChg chg="del">
          <ac:chgData name="Georgi Ivanov" userId="7e1b55540891ebeb" providerId="LiveId" clId="{D5C2B1E3-3E17-44F0-8B7A-9E0928E1AB27}" dt="2024-09-26T08:12:11.066" v="2623" actId="478"/>
          <ac:spMkLst>
            <pc:docMk/>
            <pc:sldMk cId="3968225869" sldId="317"/>
            <ac:spMk id="76" creationId="{1A3A4A82-9153-4746-8C2F-41289BDC9087}"/>
          </ac:spMkLst>
        </pc:spChg>
        <pc:spChg chg="del">
          <ac:chgData name="Georgi Ivanov" userId="7e1b55540891ebeb" providerId="LiveId" clId="{D5C2B1E3-3E17-44F0-8B7A-9E0928E1AB27}" dt="2024-09-26T07:37:33.867" v="2079" actId="478"/>
          <ac:spMkLst>
            <pc:docMk/>
            <pc:sldMk cId="3968225869" sldId="317"/>
            <ac:spMk id="77" creationId="{68F0BD25-D912-45A7-B8EF-2A950EEEC428}"/>
          </ac:spMkLst>
        </pc:spChg>
        <pc:spChg chg="mod">
          <ac:chgData name="Georgi Ivanov" userId="7e1b55540891ebeb" providerId="LiveId" clId="{D5C2B1E3-3E17-44F0-8B7A-9E0928E1AB27}" dt="2024-09-26T07:39:01.832" v="2142" actId="6549"/>
          <ac:spMkLst>
            <pc:docMk/>
            <pc:sldMk cId="3968225869" sldId="317"/>
            <ac:spMk id="79" creationId="{A08418F9-6F30-4C82-A2EB-3403D86EA3B9}"/>
          </ac:spMkLst>
        </pc:spChg>
      </pc:sldChg>
      <pc:sldChg chg="addSp delSp modSp add mod">
        <pc:chgData name="Georgi Ivanov" userId="7e1b55540891ebeb" providerId="LiveId" clId="{D5C2B1E3-3E17-44F0-8B7A-9E0928E1AB27}" dt="2024-09-26T08:36:16.941" v="2940" actId="14100"/>
        <pc:sldMkLst>
          <pc:docMk/>
          <pc:sldMk cId="3114253258" sldId="318"/>
        </pc:sldMkLst>
        <pc:spChg chg="mod">
          <ac:chgData name="Georgi Ivanov" userId="7e1b55540891ebeb" providerId="LiveId" clId="{D5C2B1E3-3E17-44F0-8B7A-9E0928E1AB27}" dt="2024-09-26T08:32:57.147" v="2882" actId="20577"/>
          <ac:spMkLst>
            <pc:docMk/>
            <pc:sldMk cId="3114253258" sldId="318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36:16.941" v="2940" actId="14100"/>
          <ac:spMkLst>
            <pc:docMk/>
            <pc:sldMk cId="3114253258" sldId="318"/>
            <ac:spMk id="3" creationId="{E3616238-46A4-D94F-D84B-7DE0BA6D908A}"/>
          </ac:spMkLst>
        </pc:spChg>
        <pc:spChg chg="add mod">
          <ac:chgData name="Georgi Ivanov" userId="7e1b55540891ebeb" providerId="LiveId" clId="{D5C2B1E3-3E17-44F0-8B7A-9E0928E1AB27}" dt="2024-09-26T08:13:02.668" v="2633" actId="20577"/>
          <ac:spMkLst>
            <pc:docMk/>
            <pc:sldMk cId="3114253258" sldId="318"/>
            <ac:spMk id="9" creationId="{0F1492CF-C318-1C39-AB36-E7509D4A782A}"/>
          </ac:spMkLst>
        </pc:spChg>
        <pc:spChg chg="add 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10" creationId="{0A3AE838-7EF2-33F3-2F27-CF2D2C4FD56F}"/>
          </ac:spMkLst>
        </pc:spChg>
        <pc:spChg chg="add 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11" creationId="{B17E304D-A33A-5140-1CBE-D31917131920}"/>
          </ac:spMkLst>
        </pc:spChg>
        <pc:spChg chg="add 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12" creationId="{454771EB-1CAA-63DE-896A-313A66D5F3D6}"/>
          </ac:spMkLst>
        </pc:spChg>
        <pc:spChg chg="add 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14" creationId="{66CC43BA-1AD4-5E41-8824-048E6EB82BF1}"/>
          </ac:spMkLst>
        </pc:spChg>
        <pc:spChg chg="add mod">
          <ac:chgData name="Georgi Ivanov" userId="7e1b55540891ebeb" providerId="LiveId" clId="{D5C2B1E3-3E17-44F0-8B7A-9E0928E1AB27}" dt="2024-09-26T08:26:14.219" v="2861" actId="692"/>
          <ac:spMkLst>
            <pc:docMk/>
            <pc:sldMk cId="3114253258" sldId="318"/>
            <ac:spMk id="16" creationId="{322D5DCA-C5D2-2841-8432-314B07E4377F}"/>
          </ac:spMkLst>
        </pc:spChg>
        <pc:spChg chg="add 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17" creationId="{F613AD76-FF56-9D30-94FB-8009D3A31EB5}"/>
          </ac:spMkLst>
        </pc:spChg>
        <pc:spChg chg="del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18" creationId="{4804B82E-E9C1-DD3E-AEBA-9A64F4356BD5}"/>
          </ac:spMkLst>
        </pc:spChg>
        <pc:spChg chg="del mod">
          <ac:chgData name="Georgi Ivanov" userId="7e1b55540891ebeb" providerId="LiveId" clId="{D5C2B1E3-3E17-44F0-8B7A-9E0928E1AB27}" dt="2024-09-26T08:16:16.199" v="2659" actId="478"/>
          <ac:spMkLst>
            <pc:docMk/>
            <pc:sldMk cId="3114253258" sldId="318"/>
            <ac:spMk id="19" creationId="{4BBAE00B-5B22-3315-FC13-44FF9745CE42}"/>
          </ac:spMkLst>
        </pc:spChg>
        <pc:spChg chg="add 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20" creationId="{FBF59936-22B5-CD21-A46C-D65F1BBFA4C2}"/>
          </ac:spMkLst>
        </pc:spChg>
        <pc:spChg chg="del mod">
          <ac:chgData name="Georgi Ivanov" userId="7e1b55540891ebeb" providerId="LiveId" clId="{D5C2B1E3-3E17-44F0-8B7A-9E0928E1AB27}" dt="2024-09-26T08:16:16.199" v="2659" actId="478"/>
          <ac:spMkLst>
            <pc:docMk/>
            <pc:sldMk cId="3114253258" sldId="318"/>
            <ac:spMk id="25" creationId="{2E96F421-5C8F-D7AC-CB8E-03B2D301D14F}"/>
          </ac:spMkLst>
        </pc:spChg>
        <pc:spChg chg="del mod">
          <ac:chgData name="Georgi Ivanov" userId="7e1b55540891ebeb" providerId="LiveId" clId="{D5C2B1E3-3E17-44F0-8B7A-9E0928E1AB27}" dt="2024-09-26T08:16:16.199" v="2659" actId="478"/>
          <ac:spMkLst>
            <pc:docMk/>
            <pc:sldMk cId="3114253258" sldId="318"/>
            <ac:spMk id="26" creationId="{0D0C9F23-91D5-336C-C039-30C996918F95}"/>
          </ac:spMkLst>
        </pc:spChg>
        <pc:spChg chg="add mod">
          <ac:chgData name="Georgi Ivanov" userId="7e1b55540891ebeb" providerId="LiveId" clId="{D5C2B1E3-3E17-44F0-8B7A-9E0928E1AB27}" dt="2024-09-26T08:25:59.616" v="2851" actId="692"/>
          <ac:spMkLst>
            <pc:docMk/>
            <pc:sldMk cId="3114253258" sldId="318"/>
            <ac:spMk id="27" creationId="{68C8C5F5-3012-6AF6-F015-9FE9157C5661}"/>
          </ac:spMkLst>
        </pc:spChg>
        <pc:spChg chg="add 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28" creationId="{DE1BAC05-780A-F182-180D-2016DD9E0341}"/>
          </ac:spMkLst>
        </pc:spChg>
        <pc:spChg chg="add mod">
          <ac:chgData name="Georgi Ivanov" userId="7e1b55540891ebeb" providerId="LiveId" clId="{D5C2B1E3-3E17-44F0-8B7A-9E0928E1AB27}" dt="2024-09-26T08:26:39.404" v="2871" actId="14100"/>
          <ac:spMkLst>
            <pc:docMk/>
            <pc:sldMk cId="3114253258" sldId="318"/>
            <ac:spMk id="29" creationId="{7842B163-C024-2021-2D8C-46F8569847FD}"/>
          </ac:spMkLst>
        </pc:spChg>
        <pc:spChg chg="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32" creationId="{908FC8D2-6733-720A-F151-C5C62EEBDE48}"/>
          </ac:spMkLst>
        </pc:spChg>
        <pc:spChg chg="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45" creationId="{0BB37216-136E-A61C-B974-E5890833BF41}"/>
          </ac:spMkLst>
        </pc:spChg>
        <pc:spChg chg="del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2065" creationId="{554707AD-820D-59B0-2BE1-998BA127E0F9}"/>
          </ac:spMkLst>
        </pc:spChg>
        <pc:spChg chg="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2066" creationId="{C47B7FEE-892C-6CDB-2809-01030A8B509C}"/>
          </ac:spMkLst>
        </pc:spChg>
        <pc:spChg chg="del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2067" creationId="{289D8543-FB4B-2075-CC01-036ACCD94B0F}"/>
          </ac:spMkLst>
        </pc:spChg>
        <pc:grpChg chg="del">
          <ac:chgData name="Georgi Ivanov" userId="7e1b55540891ebeb" providerId="LiveId" clId="{D5C2B1E3-3E17-44F0-8B7A-9E0928E1AB27}" dt="2024-09-26T08:23:23.718" v="2839" actId="478"/>
          <ac:grpSpMkLst>
            <pc:docMk/>
            <pc:sldMk cId="3114253258" sldId="318"/>
            <ac:grpSpMk id="8" creationId="{7BA130D8-B452-933E-E783-2365E14A4B0B}"/>
          </ac:grpSpMkLst>
        </pc:grpChg>
        <pc:grpChg chg="add mod">
          <ac:chgData name="Georgi Ivanov" userId="7e1b55540891ebeb" providerId="LiveId" clId="{D5C2B1E3-3E17-44F0-8B7A-9E0928E1AB27}" dt="2024-09-26T08:26:31.052" v="2868" actId="1076"/>
          <ac:grpSpMkLst>
            <pc:docMk/>
            <pc:sldMk cId="3114253258" sldId="318"/>
            <ac:grpSpMk id="21" creationId="{7C44D93E-75BD-25D4-DC4A-3F4D2F641C07}"/>
          </ac:grpSpMkLst>
        </pc:grpChg>
        <pc:grpChg chg="add mod">
          <ac:chgData name="Georgi Ivanov" userId="7e1b55540891ebeb" providerId="LiveId" clId="{D5C2B1E3-3E17-44F0-8B7A-9E0928E1AB27}" dt="2024-09-26T08:23:24.581" v="2840"/>
          <ac:grpSpMkLst>
            <pc:docMk/>
            <pc:sldMk cId="3114253258" sldId="318"/>
            <ac:grpSpMk id="30" creationId="{FDFE13F8-56BF-76AB-11D3-9BEBCBAE163E}"/>
          </ac:grpSpMkLst>
        </pc:grpChg>
        <pc:grpChg chg="mod">
          <ac:chgData name="Georgi Ivanov" userId="7e1b55540891ebeb" providerId="LiveId" clId="{D5C2B1E3-3E17-44F0-8B7A-9E0928E1AB27}" dt="2024-09-26T08:23:24.581" v="2840"/>
          <ac:grpSpMkLst>
            <pc:docMk/>
            <pc:sldMk cId="3114253258" sldId="318"/>
            <ac:grpSpMk id="31" creationId="{ED45C24A-4E78-B3B4-1D3A-ECC8C89738DE}"/>
          </ac:grpSpMkLst>
        </pc:grpChg>
        <pc:grpChg chg="del">
          <ac:chgData name="Georgi Ivanov" userId="7e1b55540891ebeb" providerId="LiveId" clId="{D5C2B1E3-3E17-44F0-8B7A-9E0928E1AB27}" dt="2024-09-26T08:23:23.718" v="2839" actId="478"/>
          <ac:grpSpMkLst>
            <pc:docMk/>
            <pc:sldMk cId="3114253258" sldId="318"/>
            <ac:grpSpMk id="2060" creationId="{27812AF3-C333-6385-08C1-BC8FB09934C8}"/>
          </ac:grpSpMkLst>
        </pc:grpChg>
        <pc:picChg chg="add mod">
          <ac:chgData name="Georgi Ivanov" userId="7e1b55540891ebeb" providerId="LiveId" clId="{D5C2B1E3-3E17-44F0-8B7A-9E0928E1AB27}" dt="2024-09-26T08:23:24.581" v="2840"/>
          <ac:picMkLst>
            <pc:docMk/>
            <pc:sldMk cId="3114253258" sldId="318"/>
            <ac:picMk id="13" creationId="{23621939-9A58-F6EF-A9AD-C5EBF9FB6CF1}"/>
          </ac:picMkLst>
        </pc:picChg>
        <pc:picChg chg="del">
          <ac:chgData name="Georgi Ivanov" userId="7e1b55540891ebeb" providerId="LiveId" clId="{D5C2B1E3-3E17-44F0-8B7A-9E0928E1AB27}" dt="2024-09-26T08:23:23.718" v="2839" actId="478"/>
          <ac:picMkLst>
            <pc:docMk/>
            <pc:sldMk cId="3114253258" sldId="318"/>
            <ac:picMk id="15" creationId="{FCC4914A-A8C0-9BC5-4089-27074B66A779}"/>
          </ac:picMkLst>
        </pc:picChg>
        <pc:picChg chg="mod">
          <ac:chgData name="Georgi Ivanov" userId="7e1b55540891ebeb" providerId="LiveId" clId="{D5C2B1E3-3E17-44F0-8B7A-9E0928E1AB27}" dt="2024-09-26T08:26:31.052" v="2868" actId="1076"/>
          <ac:picMkLst>
            <pc:docMk/>
            <pc:sldMk cId="3114253258" sldId="318"/>
            <ac:picMk id="22" creationId="{1276303E-E993-7E2D-B7E2-691DFBAB393C}"/>
          </ac:picMkLst>
        </pc:picChg>
        <pc:picChg chg="mod">
          <ac:chgData name="Georgi Ivanov" userId="7e1b55540891ebeb" providerId="LiveId" clId="{D5C2B1E3-3E17-44F0-8B7A-9E0928E1AB27}" dt="2024-09-26T08:26:31.052" v="2868" actId="1076"/>
          <ac:picMkLst>
            <pc:docMk/>
            <pc:sldMk cId="3114253258" sldId="318"/>
            <ac:picMk id="23" creationId="{F3D224C1-68BD-D277-D914-D2ABE3569211}"/>
          </ac:picMkLst>
        </pc:picChg>
        <pc:picChg chg="mod">
          <ac:chgData name="Georgi Ivanov" userId="7e1b55540891ebeb" providerId="LiveId" clId="{D5C2B1E3-3E17-44F0-8B7A-9E0928E1AB27}" dt="2024-09-26T08:26:31.052" v="2868" actId="1076"/>
          <ac:picMkLst>
            <pc:docMk/>
            <pc:sldMk cId="3114253258" sldId="318"/>
            <ac:picMk id="24" creationId="{07E65C55-E683-E636-A545-7CA58D5E0907}"/>
          </ac:picMkLst>
        </pc:picChg>
        <pc:picChg chg="mod">
          <ac:chgData name="Georgi Ivanov" userId="7e1b55540891ebeb" providerId="LiveId" clId="{D5C2B1E3-3E17-44F0-8B7A-9E0928E1AB27}" dt="2024-09-26T08:23:24.581" v="2840"/>
          <ac:picMkLst>
            <pc:docMk/>
            <pc:sldMk cId="3114253258" sldId="318"/>
            <ac:picMk id="33" creationId="{F5C73E76-097F-93FD-BEE4-309FC39B7BFD}"/>
          </ac:picMkLst>
        </pc:picChg>
        <pc:picChg chg="mod">
          <ac:chgData name="Georgi Ivanov" userId="7e1b55540891ebeb" providerId="LiveId" clId="{D5C2B1E3-3E17-44F0-8B7A-9E0928E1AB27}" dt="2024-09-26T08:23:24.581" v="2840"/>
          <ac:picMkLst>
            <pc:docMk/>
            <pc:sldMk cId="3114253258" sldId="318"/>
            <ac:picMk id="34" creationId="{C2F45153-0012-AAB1-CCDC-5D072D119719}"/>
          </ac:picMkLst>
        </pc:picChg>
        <pc:picChg chg="add">
          <ac:chgData name="Georgi Ivanov" userId="7e1b55540891ebeb" providerId="LiveId" clId="{D5C2B1E3-3E17-44F0-8B7A-9E0928E1AB27}" dt="2024-09-26T08:24:51.433" v="2841"/>
          <ac:picMkLst>
            <pc:docMk/>
            <pc:sldMk cId="3114253258" sldId="318"/>
            <ac:picMk id="18434" creationId="{8B62D5AD-1A4A-506C-5044-C2E623D2D6DD}"/>
          </ac:picMkLst>
        </pc:picChg>
        <pc:picChg chg="add mod">
          <ac:chgData name="Georgi Ivanov" userId="7e1b55540891ebeb" providerId="LiveId" clId="{D5C2B1E3-3E17-44F0-8B7A-9E0928E1AB27}" dt="2024-09-26T08:25:38.886" v="2849" actId="1076"/>
          <ac:picMkLst>
            <pc:docMk/>
            <pc:sldMk cId="3114253258" sldId="318"/>
            <ac:picMk id="18436" creationId="{E3727051-12D4-B553-BCB1-1209A2009600}"/>
          </ac:picMkLst>
        </pc:picChg>
      </pc:sldChg>
      <pc:sldChg chg="modSp add mod">
        <pc:chgData name="Georgi Ivanov" userId="7e1b55540891ebeb" providerId="LiveId" clId="{D5C2B1E3-3E17-44F0-8B7A-9E0928E1AB27}" dt="2024-09-26T08:47:23.398" v="3007"/>
        <pc:sldMkLst>
          <pc:docMk/>
          <pc:sldMk cId="1541607694" sldId="319"/>
        </pc:sldMkLst>
        <pc:spChg chg="mod">
          <ac:chgData name="Georgi Ivanov" userId="7e1b55540891ebeb" providerId="LiveId" clId="{D5C2B1E3-3E17-44F0-8B7A-9E0928E1AB27}" dt="2024-09-26T08:47:23.398" v="3007"/>
          <ac:spMkLst>
            <pc:docMk/>
            <pc:sldMk cId="1541607694" sldId="319"/>
            <ac:spMk id="3" creationId="{E3616238-46A4-D94F-D84B-7DE0BA6D908A}"/>
          </ac:spMkLst>
        </pc:spChg>
      </pc:sldChg>
      <pc:sldChg chg="modSp add mod">
        <pc:chgData name="Georgi Ivanov" userId="7e1b55540891ebeb" providerId="LiveId" clId="{D5C2B1E3-3E17-44F0-8B7A-9E0928E1AB27}" dt="2024-09-26T08:49:46.106" v="3018"/>
        <pc:sldMkLst>
          <pc:docMk/>
          <pc:sldMk cId="3041689042" sldId="320"/>
        </pc:sldMkLst>
        <pc:spChg chg="mod">
          <ac:chgData name="Georgi Ivanov" userId="7e1b55540891ebeb" providerId="LiveId" clId="{D5C2B1E3-3E17-44F0-8B7A-9E0928E1AB27}" dt="2024-09-26T08:48:10.959" v="3014" actId="20577"/>
          <ac:spMkLst>
            <pc:docMk/>
            <pc:sldMk cId="3041689042" sldId="320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49:46.106" v="3018"/>
          <ac:spMkLst>
            <pc:docMk/>
            <pc:sldMk cId="3041689042" sldId="320"/>
            <ac:spMk id="3" creationId="{E3616238-46A4-D94F-D84B-7DE0BA6D908A}"/>
          </ac:spMkLst>
        </pc:spChg>
      </pc:sldChg>
      <pc:sldChg chg="delSp modSp add mod ord">
        <pc:chgData name="Georgi Ivanov" userId="7e1b55540891ebeb" providerId="LiveId" clId="{D5C2B1E3-3E17-44F0-8B7A-9E0928E1AB27}" dt="2024-09-26T08:59:20.980" v="3424" actId="6549"/>
        <pc:sldMkLst>
          <pc:docMk/>
          <pc:sldMk cId="2881962423" sldId="321"/>
        </pc:sldMkLst>
        <pc:spChg chg="mod">
          <ac:chgData name="Georgi Ivanov" userId="7e1b55540891ebeb" providerId="LiveId" clId="{D5C2B1E3-3E17-44F0-8B7A-9E0928E1AB27}" dt="2024-09-26T08:53:01.369" v="3259" actId="20577"/>
          <ac:spMkLst>
            <pc:docMk/>
            <pc:sldMk cId="2881962423" sldId="321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59:20.980" v="3424" actId="6549"/>
          <ac:spMkLst>
            <pc:docMk/>
            <pc:sldMk cId="2881962423" sldId="321"/>
            <ac:spMk id="3" creationId="{E3616238-46A4-D94F-D84B-7DE0BA6D908A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4" creationId="{E3D17250-7924-92B4-E7B0-8FEB3F9B0CAF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0" creationId="{39C09223-D36A-E074-1AA6-0CB54D96C302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1" creationId="{39CEC175-E2F9-A40F-65CB-92B68AEF21E7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6" creationId="{E970DDF6-1DAA-110B-AD62-F1DB1D9FB745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8" creationId="{4804B82E-E9C1-DD3E-AEBA-9A64F4356BD5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9" creationId="{4BBAE00B-5B22-3315-FC13-44FF9745CE42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24" creationId="{C2FC9430-89FA-B6F5-FF73-09BF4CD95552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25" creationId="{2E96F421-5C8F-D7AC-CB8E-03B2D301D14F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26" creationId="{0D0C9F23-91D5-336C-C039-30C996918F95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34" creationId="{F24EF291-C501-D101-0029-071EE9043CF4}"/>
          </ac:spMkLst>
        </pc:spChg>
        <pc:grpChg chg="del">
          <ac:chgData name="Georgi Ivanov" userId="7e1b55540891ebeb" providerId="LiveId" clId="{D5C2B1E3-3E17-44F0-8B7A-9E0928E1AB27}" dt="2024-09-26T08:53:10.583" v="3260" actId="478"/>
          <ac:grpSpMkLst>
            <pc:docMk/>
            <pc:sldMk cId="2881962423" sldId="321"/>
            <ac:grpSpMk id="14" creationId="{93FF40BB-26DA-E3DD-6351-24DE54E3BD81}"/>
          </ac:grpSpMkLst>
        </pc:grpChg>
        <pc:grpChg chg="del">
          <ac:chgData name="Georgi Ivanov" userId="7e1b55540891ebeb" providerId="LiveId" clId="{D5C2B1E3-3E17-44F0-8B7A-9E0928E1AB27}" dt="2024-09-26T08:53:10.583" v="3260" actId="478"/>
          <ac:grpSpMkLst>
            <pc:docMk/>
            <pc:sldMk cId="2881962423" sldId="321"/>
            <ac:grpSpMk id="31" creationId="{1FFC8AE4-5582-19C0-DED3-63D8270B8571}"/>
          </ac:grpSpMkLst>
        </pc:grpChg>
        <pc:picChg chg="del">
          <ac:chgData name="Georgi Ivanov" userId="7e1b55540891ebeb" providerId="LiveId" clId="{D5C2B1E3-3E17-44F0-8B7A-9E0928E1AB27}" dt="2024-09-26T08:53:10.583" v="3260" actId="478"/>
          <ac:picMkLst>
            <pc:docMk/>
            <pc:sldMk cId="2881962423" sldId="321"/>
            <ac:picMk id="15" creationId="{FCC4914A-A8C0-9BC5-4089-27074B66A779}"/>
          </ac:picMkLst>
        </pc:pic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9B3D44-A0CC-4574-B33D-B138ED440CDA}" type="doc">
      <dgm:prSet loTypeId="urn:microsoft.com/office/officeart/2005/8/layout/hList7" loCatId="process" qsTypeId="urn:microsoft.com/office/officeart/2005/8/quickstyle/simple2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7988F297-D15C-4C11-ADEB-B542C87EF07D}">
      <dgm:prSet phldrT="[Text]" custT="1"/>
      <dgm:spPr/>
      <dgm:t>
        <a:bodyPr/>
        <a:lstStyle/>
        <a:p>
          <a:r>
            <a:rPr lang="en-US" sz="2400" b="1" dirty="0">
              <a:latin typeface="Segoe UI" panose="020B0502040204020203" pitchFamily="34" charset="0"/>
              <a:cs typeface="Segoe UI" panose="020B0502040204020203" pitchFamily="34" charset="0"/>
            </a:rPr>
            <a:t>Infrastructure management</a:t>
          </a:r>
        </a:p>
      </dgm:t>
    </dgm:pt>
    <dgm:pt modelId="{FC68F2A7-E56B-4E99-AC26-B70C2BBEA1CB}" type="parTrans" cxnId="{DF0FA47E-C1A3-43B2-9450-71FD2FB5CB2F}">
      <dgm:prSet/>
      <dgm:spPr/>
      <dgm:t>
        <a:bodyPr/>
        <a:lstStyle/>
        <a:p>
          <a:endParaRPr lang="en-US"/>
        </a:p>
      </dgm:t>
    </dgm:pt>
    <dgm:pt modelId="{C77D1640-694D-43CF-8054-B2BA6DC55A69}" type="sibTrans" cxnId="{DF0FA47E-C1A3-43B2-9450-71FD2FB5CB2F}">
      <dgm:prSet/>
      <dgm:spPr/>
      <dgm:t>
        <a:bodyPr/>
        <a:lstStyle/>
        <a:p>
          <a:endParaRPr lang="en-US"/>
        </a:p>
      </dgm:t>
    </dgm:pt>
    <dgm:pt modelId="{402932E3-BE5D-402A-9C87-4600A418A01F}">
      <dgm:prSet phldrT="[Text]" custT="1"/>
      <dgm:spPr/>
      <dgm:t>
        <a:bodyPr/>
        <a:lstStyle/>
        <a:p>
          <a:r>
            <a:rPr lang="en-US" sz="2000" dirty="0" err="1">
              <a:latin typeface="Segoe UI" panose="020B0502040204020203" pitchFamily="34" charset="0"/>
              <a:cs typeface="Segoe UI" panose="020B0502040204020203" pitchFamily="34" charset="0"/>
            </a:rPr>
            <a:t>GitOps</a:t>
          </a:r>
          <a:endParaRPr lang="en-US" sz="2000" dirty="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C68C3631-174C-426D-81AB-1895C36C6B6E}" type="parTrans" cxnId="{F18B2708-C8DE-48BD-AB5C-4B535DD9B3F1}">
      <dgm:prSet/>
      <dgm:spPr/>
      <dgm:t>
        <a:bodyPr/>
        <a:lstStyle/>
        <a:p>
          <a:endParaRPr lang="en-US"/>
        </a:p>
      </dgm:t>
    </dgm:pt>
    <dgm:pt modelId="{B2632713-6510-4C01-8E47-FA1AC102F432}" type="sibTrans" cxnId="{F18B2708-C8DE-48BD-AB5C-4B535DD9B3F1}">
      <dgm:prSet/>
      <dgm:spPr/>
      <dgm:t>
        <a:bodyPr/>
        <a:lstStyle/>
        <a:p>
          <a:endParaRPr lang="en-US"/>
        </a:p>
      </dgm:t>
    </dgm:pt>
    <dgm:pt modelId="{7C965FE3-DD92-4091-88FE-D6D2EAF30BC1}">
      <dgm:prSet phldrT="[Text]" custT="1"/>
      <dgm:spPr/>
      <dgm:t>
        <a:bodyPr/>
        <a:lstStyle/>
        <a:p>
          <a:r>
            <a:rPr lang="en-US" sz="2400" b="1" dirty="0">
              <a:latin typeface="Segoe UI" panose="020B0502040204020203" pitchFamily="34" charset="0"/>
              <a:cs typeface="Segoe UI" panose="020B0502040204020203" pitchFamily="34" charset="0"/>
            </a:rPr>
            <a:t>Azure Template Specs</a:t>
          </a:r>
        </a:p>
      </dgm:t>
    </dgm:pt>
    <dgm:pt modelId="{78501AFD-3110-4721-B8BC-883AB3F5ACC3}" type="parTrans" cxnId="{898AC3E4-0D9B-4921-B4E8-2CAB0598ECFA}">
      <dgm:prSet/>
      <dgm:spPr/>
      <dgm:t>
        <a:bodyPr/>
        <a:lstStyle/>
        <a:p>
          <a:endParaRPr lang="en-US"/>
        </a:p>
      </dgm:t>
    </dgm:pt>
    <dgm:pt modelId="{5CC58E07-8929-4D5D-9D46-9F35DA3F0B95}" type="sibTrans" cxnId="{898AC3E4-0D9B-4921-B4E8-2CAB0598ECFA}">
      <dgm:prSet/>
      <dgm:spPr/>
      <dgm:t>
        <a:bodyPr/>
        <a:lstStyle/>
        <a:p>
          <a:endParaRPr lang="en-US"/>
        </a:p>
      </dgm:t>
    </dgm:pt>
    <dgm:pt modelId="{17E1B48F-FFE9-4E3C-B286-2C8D78B67095}">
      <dgm:prSet phldrT="[Text]" custT="1"/>
      <dgm:spPr/>
      <dgm:t>
        <a:bodyPr/>
        <a:lstStyle/>
        <a:p>
          <a:r>
            <a:rPr lang="en-US" sz="2000" dirty="0">
              <a:latin typeface="Segoe UI" panose="020B0502040204020203" pitchFamily="34" charset="0"/>
              <a:cs typeface="Segoe UI" panose="020B0502040204020203" pitchFamily="34" charset="0"/>
            </a:rPr>
            <a:t>Catalog</a:t>
          </a:r>
        </a:p>
      </dgm:t>
    </dgm:pt>
    <dgm:pt modelId="{000D60EA-F685-4B17-BE16-48AD51E8CF55}" type="parTrans" cxnId="{AE389B6F-A8E6-4DF8-AD1E-6DDD640C2836}">
      <dgm:prSet/>
      <dgm:spPr/>
      <dgm:t>
        <a:bodyPr/>
        <a:lstStyle/>
        <a:p>
          <a:endParaRPr lang="en-US"/>
        </a:p>
      </dgm:t>
    </dgm:pt>
    <dgm:pt modelId="{9B63D1FF-475E-4CA7-9FB6-5F7F8D9AE45C}" type="sibTrans" cxnId="{AE389B6F-A8E6-4DF8-AD1E-6DDD640C2836}">
      <dgm:prSet/>
      <dgm:spPr/>
      <dgm:t>
        <a:bodyPr/>
        <a:lstStyle/>
        <a:p>
          <a:endParaRPr lang="en-US"/>
        </a:p>
      </dgm:t>
    </dgm:pt>
    <dgm:pt modelId="{1253067A-D2DD-440E-8B42-C5C0955E4308}">
      <dgm:prSet phldrT="[Text]" custT="1"/>
      <dgm:spPr/>
      <dgm:t>
        <a:bodyPr/>
        <a:lstStyle/>
        <a:p>
          <a:r>
            <a:rPr lang="en-US" sz="2000" b="0" dirty="0">
              <a:latin typeface="Segoe UI" panose="020B0502040204020203" pitchFamily="34" charset="0"/>
              <a:cs typeface="Segoe UI" panose="020B0502040204020203" pitchFamily="34" charset="0"/>
            </a:rPr>
            <a:t>Deployment Options</a:t>
          </a:r>
        </a:p>
      </dgm:t>
    </dgm:pt>
    <dgm:pt modelId="{E8AFBCAC-1386-4A80-A538-712F98AB4BB3}" type="parTrans" cxnId="{5F5EBCB0-BA98-4078-9586-9E03CF548CBE}">
      <dgm:prSet/>
      <dgm:spPr/>
      <dgm:t>
        <a:bodyPr/>
        <a:lstStyle/>
        <a:p>
          <a:endParaRPr lang="en-US"/>
        </a:p>
      </dgm:t>
    </dgm:pt>
    <dgm:pt modelId="{044925F0-CCD5-4F75-8CBD-0C0191990BDF}" type="sibTrans" cxnId="{5F5EBCB0-BA98-4078-9586-9E03CF548CBE}">
      <dgm:prSet/>
      <dgm:spPr/>
      <dgm:t>
        <a:bodyPr/>
        <a:lstStyle/>
        <a:p>
          <a:endParaRPr lang="en-US"/>
        </a:p>
      </dgm:t>
    </dgm:pt>
    <dgm:pt modelId="{ABA0481D-5353-4284-8F70-8217ADE56E28}">
      <dgm:prSet phldrT="[Text]" custT="1"/>
      <dgm:spPr/>
      <dgm:t>
        <a:bodyPr/>
        <a:lstStyle/>
        <a:p>
          <a:r>
            <a:rPr lang="en-US" sz="2000" dirty="0">
              <a:latin typeface="Segoe UI" panose="020B0502040204020203" pitchFamily="34" charset="0"/>
              <a:cs typeface="Segoe UI" panose="020B0502040204020203" pitchFamily="34" charset="0"/>
            </a:rPr>
            <a:t>Template</a:t>
          </a:r>
        </a:p>
      </dgm:t>
    </dgm:pt>
    <dgm:pt modelId="{9957A3A7-ABC0-4037-B6E3-1A8507F4FB17}" type="parTrans" cxnId="{04C57394-FF34-4446-8E22-1E82B07BCC38}">
      <dgm:prSet/>
      <dgm:spPr/>
      <dgm:t>
        <a:bodyPr/>
        <a:lstStyle/>
        <a:p>
          <a:endParaRPr lang="en-US"/>
        </a:p>
      </dgm:t>
    </dgm:pt>
    <dgm:pt modelId="{7ADBB19E-27FE-4532-9932-0EBBA36D98F1}" type="sibTrans" cxnId="{04C57394-FF34-4446-8E22-1E82B07BCC38}">
      <dgm:prSet/>
      <dgm:spPr/>
      <dgm:t>
        <a:bodyPr/>
        <a:lstStyle/>
        <a:p>
          <a:endParaRPr lang="en-US"/>
        </a:p>
      </dgm:t>
    </dgm:pt>
    <dgm:pt modelId="{6791FD48-50DD-45B6-A4E2-BBBC2B2FBE33}">
      <dgm:prSet phldrT="[Text]" custT="1"/>
      <dgm:spPr/>
      <dgm:t>
        <a:bodyPr/>
        <a:lstStyle/>
        <a:p>
          <a:r>
            <a:rPr lang="en-US" sz="2000" dirty="0">
              <a:latin typeface="Segoe UI" panose="020B0502040204020203" pitchFamily="34" charset="0"/>
              <a:cs typeface="Segoe UI" panose="020B0502040204020203" pitchFamily="34" charset="0"/>
            </a:rPr>
            <a:t>User Interface</a:t>
          </a:r>
        </a:p>
      </dgm:t>
    </dgm:pt>
    <dgm:pt modelId="{F30FD5D5-DE9D-4E1D-8C73-DBC53B82D45B}" type="parTrans" cxnId="{D379AA4E-26AF-4F14-97D7-06992A590DD6}">
      <dgm:prSet/>
      <dgm:spPr/>
      <dgm:t>
        <a:bodyPr/>
        <a:lstStyle/>
        <a:p>
          <a:endParaRPr lang="en-US"/>
        </a:p>
      </dgm:t>
    </dgm:pt>
    <dgm:pt modelId="{4D233824-83F5-4FD9-875C-10D6CC7AD96B}" type="sibTrans" cxnId="{D379AA4E-26AF-4F14-97D7-06992A590DD6}">
      <dgm:prSet/>
      <dgm:spPr/>
      <dgm:t>
        <a:bodyPr/>
        <a:lstStyle/>
        <a:p>
          <a:endParaRPr lang="en-US"/>
        </a:p>
      </dgm:t>
    </dgm:pt>
    <dgm:pt modelId="{58AD87BF-8ED0-4BD5-9EEA-71BAD1A61B00}">
      <dgm:prSet phldrT="[Text]" custT="1"/>
      <dgm:spPr/>
      <dgm:t>
        <a:bodyPr/>
        <a:lstStyle/>
        <a:p>
          <a:r>
            <a:rPr lang="en-US" sz="2400" b="1" dirty="0">
              <a:latin typeface="Segoe UI" panose="020B0502040204020203" pitchFamily="34" charset="0"/>
              <a:cs typeface="Segoe UI" panose="020B0502040204020203" pitchFamily="34" charset="0"/>
            </a:rPr>
            <a:t>Conclusions</a:t>
          </a:r>
        </a:p>
      </dgm:t>
    </dgm:pt>
    <dgm:pt modelId="{A5AADC75-079A-48AE-9D57-D94FD8B1B710}" type="parTrans" cxnId="{FE6AD31B-B49D-4B57-AB9F-78B91F66B1E8}">
      <dgm:prSet/>
      <dgm:spPr/>
      <dgm:t>
        <a:bodyPr/>
        <a:lstStyle/>
        <a:p>
          <a:endParaRPr lang="en-US"/>
        </a:p>
      </dgm:t>
    </dgm:pt>
    <dgm:pt modelId="{E70B6A76-C687-42E0-8102-5945F60DE0DC}" type="sibTrans" cxnId="{FE6AD31B-B49D-4B57-AB9F-78B91F66B1E8}">
      <dgm:prSet/>
      <dgm:spPr/>
      <dgm:t>
        <a:bodyPr/>
        <a:lstStyle/>
        <a:p>
          <a:endParaRPr lang="en-US"/>
        </a:p>
      </dgm:t>
    </dgm:pt>
    <dgm:pt modelId="{56ABC171-25C6-4FCD-87C8-109D6312E6DA}">
      <dgm:prSet phldrT="[Text]" custT="1"/>
      <dgm:spPr/>
      <dgm:t>
        <a:bodyPr/>
        <a:lstStyle/>
        <a:p>
          <a:r>
            <a:rPr lang="en-US" sz="2000" dirty="0" err="1">
              <a:latin typeface="Segoe UI" panose="020B0502040204020203" pitchFamily="34" charset="0"/>
              <a:cs typeface="Segoe UI" panose="020B0502040204020203" pitchFamily="34" charset="0"/>
            </a:rPr>
            <a:t>IaC</a:t>
          </a:r>
          <a:endParaRPr lang="en-US" sz="2000" dirty="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DEA26E50-8D74-48ED-B7D8-0DD7CBE75C9F}" type="parTrans" cxnId="{B3D0B5A1-57F5-4AA1-8A22-41E1E977FAAE}">
      <dgm:prSet/>
      <dgm:spPr/>
      <dgm:t>
        <a:bodyPr/>
        <a:lstStyle/>
        <a:p>
          <a:endParaRPr lang="en-US"/>
        </a:p>
      </dgm:t>
    </dgm:pt>
    <dgm:pt modelId="{9DDB3FC6-B9FA-430D-855F-9023834ABCFC}" type="sibTrans" cxnId="{B3D0B5A1-57F5-4AA1-8A22-41E1E977FAAE}">
      <dgm:prSet/>
      <dgm:spPr/>
      <dgm:t>
        <a:bodyPr/>
        <a:lstStyle/>
        <a:p>
          <a:endParaRPr lang="en-US"/>
        </a:p>
      </dgm:t>
    </dgm:pt>
    <dgm:pt modelId="{0CD84548-BFF6-4549-B6D6-56E3F96EF59C}">
      <dgm:prSet phldrT="[Text]" custT="1"/>
      <dgm:spPr/>
      <dgm:t>
        <a:bodyPr/>
        <a:lstStyle/>
        <a:p>
          <a:r>
            <a:rPr lang="en-US" sz="2400" b="1" dirty="0">
              <a:latin typeface="Segoe UI" panose="020B0502040204020203" pitchFamily="34" charset="0"/>
              <a:cs typeface="Segoe UI" panose="020B0502040204020203" pitchFamily="34" charset="0"/>
            </a:rPr>
            <a:t>TS everywhere</a:t>
          </a:r>
        </a:p>
      </dgm:t>
    </dgm:pt>
    <dgm:pt modelId="{6DA2A878-1E2C-4D4E-98B0-0AA615306596}" type="sibTrans" cxnId="{A88B89D6-21AA-4059-BF05-67BF2D37C327}">
      <dgm:prSet/>
      <dgm:spPr/>
      <dgm:t>
        <a:bodyPr/>
        <a:lstStyle/>
        <a:p>
          <a:endParaRPr lang="en-US"/>
        </a:p>
      </dgm:t>
    </dgm:pt>
    <dgm:pt modelId="{F24A66F6-F3CE-43B0-918C-CA2DB2E57E0E}" type="parTrans" cxnId="{A88B89D6-21AA-4059-BF05-67BF2D37C327}">
      <dgm:prSet/>
      <dgm:spPr/>
      <dgm:t>
        <a:bodyPr/>
        <a:lstStyle/>
        <a:p>
          <a:endParaRPr lang="en-US"/>
        </a:p>
      </dgm:t>
    </dgm:pt>
    <dgm:pt modelId="{C0B4AD36-6ACD-40A7-BA65-4949F5E57312}">
      <dgm:prSet phldrT="[Text]" custT="1"/>
      <dgm:spPr/>
      <dgm:t>
        <a:bodyPr/>
        <a:lstStyle/>
        <a:p>
          <a:r>
            <a:rPr lang="en-US" sz="2000" dirty="0">
              <a:latin typeface="Segoe UI" panose="020B0502040204020203" pitchFamily="34" charset="0"/>
              <a:cs typeface="Segoe UI" panose="020B0502040204020203" pitchFamily="34" charset="0"/>
            </a:rPr>
            <a:t>Composition</a:t>
          </a:r>
        </a:p>
      </dgm:t>
    </dgm:pt>
    <dgm:pt modelId="{22E53CFD-911C-491B-8558-A30E5A54522E}" type="parTrans" cxnId="{E16C2B63-402E-4E18-A43D-E1E4022C5F17}">
      <dgm:prSet/>
      <dgm:spPr/>
      <dgm:t>
        <a:bodyPr/>
        <a:lstStyle/>
        <a:p>
          <a:endParaRPr lang="en-US"/>
        </a:p>
      </dgm:t>
    </dgm:pt>
    <dgm:pt modelId="{CE94F93C-375A-414D-A7F2-B47DAF51C29D}" type="sibTrans" cxnId="{E16C2B63-402E-4E18-A43D-E1E4022C5F17}">
      <dgm:prSet/>
      <dgm:spPr/>
      <dgm:t>
        <a:bodyPr/>
        <a:lstStyle/>
        <a:p>
          <a:endParaRPr lang="en-US"/>
        </a:p>
      </dgm:t>
    </dgm:pt>
    <dgm:pt modelId="{72045757-4B40-412D-B9B0-445ABDE9951B}">
      <dgm:prSet phldrT="[Text]" custT="1"/>
      <dgm:spPr/>
      <dgm:t>
        <a:bodyPr/>
        <a:lstStyle/>
        <a:p>
          <a:r>
            <a:rPr lang="en-US" sz="2400" b="1" dirty="0">
              <a:latin typeface="Segoe UI" panose="020B0502040204020203" pitchFamily="34" charset="0"/>
              <a:cs typeface="Segoe UI" panose="020B0502040204020203" pitchFamily="34" charset="0"/>
            </a:rPr>
            <a:t>TS for non prod</a:t>
          </a:r>
        </a:p>
      </dgm:t>
    </dgm:pt>
    <dgm:pt modelId="{5457746A-8FEE-41F9-AB54-1655F9AB0D5F}" type="parTrans" cxnId="{06F3720F-624C-4466-A629-B3C2C711F73A}">
      <dgm:prSet/>
      <dgm:spPr/>
      <dgm:t>
        <a:bodyPr/>
        <a:lstStyle/>
        <a:p>
          <a:endParaRPr lang="en-US"/>
        </a:p>
      </dgm:t>
    </dgm:pt>
    <dgm:pt modelId="{07309092-F5B7-4B77-AA46-74A60476F952}" type="sibTrans" cxnId="{06F3720F-624C-4466-A629-B3C2C711F73A}">
      <dgm:prSet/>
      <dgm:spPr/>
      <dgm:t>
        <a:bodyPr/>
        <a:lstStyle/>
        <a:p>
          <a:endParaRPr lang="en-US"/>
        </a:p>
      </dgm:t>
    </dgm:pt>
    <dgm:pt modelId="{655CBF77-9A63-421A-AFBE-75B9C45ABE67}" type="pres">
      <dgm:prSet presAssocID="{AC9B3D44-A0CC-4574-B33D-B138ED440CDA}" presName="Name0" presStyleCnt="0">
        <dgm:presLayoutVars>
          <dgm:dir/>
          <dgm:resizeHandles val="exact"/>
        </dgm:presLayoutVars>
      </dgm:prSet>
      <dgm:spPr/>
    </dgm:pt>
    <dgm:pt modelId="{0EFEA4C1-0E3A-4093-8E30-F6AF7CF7EBA7}" type="pres">
      <dgm:prSet presAssocID="{AC9B3D44-A0CC-4574-B33D-B138ED440CDA}" presName="fgShape" presStyleLbl="fgShp" presStyleIdx="0" presStyleCnt="1" custScaleX="64542"/>
      <dgm:spPr>
        <a:noFill/>
        <a:ln>
          <a:noFill/>
        </a:ln>
      </dgm:spPr>
    </dgm:pt>
    <dgm:pt modelId="{C7E1B2EE-19E1-4800-9431-55A7119D50CB}" type="pres">
      <dgm:prSet presAssocID="{AC9B3D44-A0CC-4574-B33D-B138ED440CDA}" presName="linComp" presStyleCnt="0"/>
      <dgm:spPr/>
    </dgm:pt>
    <dgm:pt modelId="{90D0FBA3-1821-4689-81FD-C94EE3C7F9B9}" type="pres">
      <dgm:prSet presAssocID="{7988F297-D15C-4C11-ADEB-B542C87EF07D}" presName="compNode" presStyleCnt="0"/>
      <dgm:spPr/>
    </dgm:pt>
    <dgm:pt modelId="{55687E20-1FA8-4643-A582-4248149F6612}" type="pres">
      <dgm:prSet presAssocID="{7988F297-D15C-4C11-ADEB-B542C87EF07D}" presName="bkgdShape" presStyleLbl="node1" presStyleIdx="0" presStyleCnt="3"/>
      <dgm:spPr/>
    </dgm:pt>
    <dgm:pt modelId="{DE84AD04-89E5-47A2-970F-14B7B8209691}" type="pres">
      <dgm:prSet presAssocID="{7988F297-D15C-4C11-ADEB-B542C87EF07D}" presName="nodeTx" presStyleLbl="node1" presStyleIdx="0" presStyleCnt="3">
        <dgm:presLayoutVars>
          <dgm:bulletEnabled val="1"/>
        </dgm:presLayoutVars>
      </dgm:prSet>
      <dgm:spPr/>
    </dgm:pt>
    <dgm:pt modelId="{402F1CC4-5695-41E1-8AA7-CD19DF34AFCF}" type="pres">
      <dgm:prSet presAssocID="{7988F297-D15C-4C11-ADEB-B542C87EF07D}" presName="invisiNode" presStyleLbl="node1" presStyleIdx="0" presStyleCnt="3"/>
      <dgm:spPr/>
    </dgm:pt>
    <dgm:pt modelId="{C75BD736-1A41-4863-B89F-6A03CC41A67F}" type="pres">
      <dgm:prSet presAssocID="{7988F297-D15C-4C11-ADEB-B542C87EF07D}" presName="imagNode" presStyleLbl="fgImgPlace1" presStyleIdx="0" presStyleCnt="3"/>
      <dgm:spPr>
        <a:blipFill rotWithShape="1">
          <a:blip xmlns:r="http://schemas.openxmlformats.org/officeDocument/2006/relationships" r:embed="rId1"/>
          <a:srcRect/>
          <a:stretch>
            <a:fillRect/>
          </a:stretch>
        </a:blipFill>
      </dgm:spPr>
    </dgm:pt>
    <dgm:pt modelId="{2D1CA7CF-A6A6-4557-8E3C-937803DA951B}" type="pres">
      <dgm:prSet presAssocID="{C77D1640-694D-43CF-8054-B2BA6DC55A69}" presName="sibTrans" presStyleLbl="sibTrans2D1" presStyleIdx="0" presStyleCnt="0"/>
      <dgm:spPr/>
    </dgm:pt>
    <dgm:pt modelId="{463304A1-6D59-4BB7-A3DA-FF9962AC7ADA}" type="pres">
      <dgm:prSet presAssocID="{7C965FE3-DD92-4091-88FE-D6D2EAF30BC1}" presName="compNode" presStyleCnt="0"/>
      <dgm:spPr/>
    </dgm:pt>
    <dgm:pt modelId="{8F606117-646B-465E-8292-304040BE07E0}" type="pres">
      <dgm:prSet presAssocID="{7C965FE3-DD92-4091-88FE-D6D2EAF30BC1}" presName="bkgdShape" presStyleLbl="node1" presStyleIdx="1" presStyleCnt="3"/>
      <dgm:spPr/>
    </dgm:pt>
    <dgm:pt modelId="{FCD3DA1D-3C8E-441D-8097-9302C824752C}" type="pres">
      <dgm:prSet presAssocID="{7C965FE3-DD92-4091-88FE-D6D2EAF30BC1}" presName="nodeTx" presStyleLbl="node1" presStyleIdx="1" presStyleCnt="3">
        <dgm:presLayoutVars>
          <dgm:bulletEnabled val="1"/>
        </dgm:presLayoutVars>
      </dgm:prSet>
      <dgm:spPr/>
    </dgm:pt>
    <dgm:pt modelId="{B6818608-1529-42C1-B5FE-D7FA495704D3}" type="pres">
      <dgm:prSet presAssocID="{7C965FE3-DD92-4091-88FE-D6D2EAF30BC1}" presName="invisiNode" presStyleLbl="node1" presStyleIdx="1" presStyleCnt="3"/>
      <dgm:spPr/>
    </dgm:pt>
    <dgm:pt modelId="{C71662BE-94CA-4868-A3CB-A0F5E15A0B81}" type="pres">
      <dgm:prSet presAssocID="{7C965FE3-DD92-4091-88FE-D6D2EAF30BC1}" presName="imagNode" presStyleLbl="fgImgPlace1" presStyleIdx="1" presStyleCnt="3"/>
      <dgm:spPr>
        <a:blipFill rotWithShape="1">
          <a:blip xmlns:r="http://schemas.openxmlformats.org/officeDocument/2006/relationships" r:embed="rId1"/>
          <a:srcRect/>
          <a:stretch>
            <a:fillRect/>
          </a:stretch>
        </a:blipFill>
      </dgm:spPr>
    </dgm:pt>
    <dgm:pt modelId="{F40CF809-2810-4860-AC73-A20EF510A847}" type="pres">
      <dgm:prSet presAssocID="{5CC58E07-8929-4D5D-9D46-9F35DA3F0B95}" presName="sibTrans" presStyleLbl="sibTrans2D1" presStyleIdx="0" presStyleCnt="0"/>
      <dgm:spPr/>
    </dgm:pt>
    <dgm:pt modelId="{23ECCDE1-3A92-4955-9255-57E782108C5D}" type="pres">
      <dgm:prSet presAssocID="{58AD87BF-8ED0-4BD5-9EEA-71BAD1A61B00}" presName="compNode" presStyleCnt="0"/>
      <dgm:spPr/>
    </dgm:pt>
    <dgm:pt modelId="{8D06AC0C-77D1-4D09-BBD4-B2552996B2C6}" type="pres">
      <dgm:prSet presAssocID="{58AD87BF-8ED0-4BD5-9EEA-71BAD1A61B00}" presName="bkgdShape" presStyleLbl="node1" presStyleIdx="2" presStyleCnt="3"/>
      <dgm:spPr/>
    </dgm:pt>
    <dgm:pt modelId="{8A56D2D2-A8F0-4611-B107-DFDD92198B79}" type="pres">
      <dgm:prSet presAssocID="{58AD87BF-8ED0-4BD5-9EEA-71BAD1A61B00}" presName="nodeTx" presStyleLbl="node1" presStyleIdx="2" presStyleCnt="3">
        <dgm:presLayoutVars>
          <dgm:bulletEnabled val="1"/>
        </dgm:presLayoutVars>
      </dgm:prSet>
      <dgm:spPr/>
    </dgm:pt>
    <dgm:pt modelId="{291F2235-B9EE-490C-B7C1-A80F213454F3}" type="pres">
      <dgm:prSet presAssocID="{58AD87BF-8ED0-4BD5-9EEA-71BAD1A61B00}" presName="invisiNode" presStyleLbl="node1" presStyleIdx="2" presStyleCnt="3"/>
      <dgm:spPr/>
    </dgm:pt>
    <dgm:pt modelId="{3121972C-1790-4663-AE61-2148EF6FDCD2}" type="pres">
      <dgm:prSet presAssocID="{58AD87BF-8ED0-4BD5-9EEA-71BAD1A61B00}" presName="imagNode" presStyleLbl="fgImgPlace1" presStyleIdx="2" presStyleCnt="3"/>
      <dgm:spPr>
        <a:blipFill rotWithShape="1">
          <a:blip xmlns:r="http://schemas.openxmlformats.org/officeDocument/2006/relationships" r:embed="rId1"/>
          <a:srcRect/>
          <a:stretch>
            <a:fillRect/>
          </a:stretch>
        </a:blipFill>
      </dgm:spPr>
    </dgm:pt>
  </dgm:ptLst>
  <dgm:cxnLst>
    <dgm:cxn modelId="{C07A3307-1FC5-43B5-99FD-5087A4E87D50}" type="presOf" srcId="{7988F297-D15C-4C11-ADEB-B542C87EF07D}" destId="{DE84AD04-89E5-47A2-970F-14B7B8209691}" srcOrd="1" destOrd="0" presId="urn:microsoft.com/office/officeart/2005/8/layout/hList7"/>
    <dgm:cxn modelId="{F18B2708-C8DE-48BD-AB5C-4B535DD9B3F1}" srcId="{7988F297-D15C-4C11-ADEB-B542C87EF07D}" destId="{402932E3-BE5D-402A-9C87-4600A418A01F}" srcOrd="1" destOrd="0" parTransId="{C68C3631-174C-426D-81AB-1895C36C6B6E}" sibTransId="{B2632713-6510-4C01-8E47-FA1AC102F432}"/>
    <dgm:cxn modelId="{54CC080A-467F-44FC-AEF5-8D96F54E3C2D}" type="presOf" srcId="{C0B4AD36-6ACD-40A7-BA65-4949F5E57312}" destId="{8F606117-646B-465E-8292-304040BE07E0}" srcOrd="0" destOrd="4" presId="urn:microsoft.com/office/officeart/2005/8/layout/hList7"/>
    <dgm:cxn modelId="{06F3720F-624C-4466-A629-B3C2C711F73A}" srcId="{58AD87BF-8ED0-4BD5-9EEA-71BAD1A61B00}" destId="{72045757-4B40-412D-B9B0-445ABDE9951B}" srcOrd="1" destOrd="0" parTransId="{5457746A-8FEE-41F9-AB54-1655F9AB0D5F}" sibTransId="{07309092-F5B7-4B77-AA46-74A60476F952}"/>
    <dgm:cxn modelId="{681F421A-03FA-4010-A579-265A61B4E188}" type="presOf" srcId="{72045757-4B40-412D-B9B0-445ABDE9951B}" destId="{8D06AC0C-77D1-4D09-BBD4-B2552996B2C6}" srcOrd="0" destOrd="2" presId="urn:microsoft.com/office/officeart/2005/8/layout/hList7"/>
    <dgm:cxn modelId="{FE6AD31B-B49D-4B57-AB9F-78B91F66B1E8}" srcId="{AC9B3D44-A0CC-4574-B33D-B138ED440CDA}" destId="{58AD87BF-8ED0-4BD5-9EEA-71BAD1A61B00}" srcOrd="2" destOrd="0" parTransId="{A5AADC75-079A-48AE-9D57-D94FD8B1B710}" sibTransId="{E70B6A76-C687-42E0-8102-5945F60DE0DC}"/>
    <dgm:cxn modelId="{AAFB1C29-FEC3-496A-906B-DE58C017700D}" type="presOf" srcId="{17E1B48F-FFE9-4E3C-B286-2C8D78B67095}" destId="{DE84AD04-89E5-47A2-970F-14B7B8209691}" srcOrd="1" destOrd="3" presId="urn:microsoft.com/office/officeart/2005/8/layout/hList7"/>
    <dgm:cxn modelId="{5230E333-8F6F-4069-BB60-87AB0A14129E}" type="presOf" srcId="{ABA0481D-5353-4284-8F70-8217ADE56E28}" destId="{FCD3DA1D-3C8E-441D-8097-9302C824752C}" srcOrd="1" destOrd="2" presId="urn:microsoft.com/office/officeart/2005/8/layout/hList7"/>
    <dgm:cxn modelId="{163AA036-80B4-427B-8262-B6892B2D9459}" type="presOf" srcId="{56ABC171-25C6-4FCD-87C8-109D6312E6DA}" destId="{DE84AD04-89E5-47A2-970F-14B7B8209691}" srcOrd="1" destOrd="1" presId="urn:microsoft.com/office/officeart/2005/8/layout/hList7"/>
    <dgm:cxn modelId="{BB3EFE3C-AE5A-4BA8-8FA2-F29727FDB581}" type="presOf" srcId="{0CD84548-BFF6-4549-B6D6-56E3F96EF59C}" destId="{8D06AC0C-77D1-4D09-BBD4-B2552996B2C6}" srcOrd="0" destOrd="1" presId="urn:microsoft.com/office/officeart/2005/8/layout/hList7"/>
    <dgm:cxn modelId="{6B04EF41-F31A-49B7-85DB-55A25B55D4D5}" type="presOf" srcId="{17E1B48F-FFE9-4E3C-B286-2C8D78B67095}" destId="{55687E20-1FA8-4643-A582-4248149F6612}" srcOrd="0" destOrd="3" presId="urn:microsoft.com/office/officeart/2005/8/layout/hList7"/>
    <dgm:cxn modelId="{762C5262-BFCF-4271-8451-C6835986ED21}" type="presOf" srcId="{6791FD48-50DD-45B6-A4E2-BBBC2B2FBE33}" destId="{FCD3DA1D-3C8E-441D-8097-9302C824752C}" srcOrd="1" destOrd="3" presId="urn:microsoft.com/office/officeart/2005/8/layout/hList7"/>
    <dgm:cxn modelId="{E16C2B63-402E-4E18-A43D-E1E4022C5F17}" srcId="{7C965FE3-DD92-4091-88FE-D6D2EAF30BC1}" destId="{C0B4AD36-6ACD-40A7-BA65-4949F5E57312}" srcOrd="3" destOrd="0" parTransId="{22E53CFD-911C-491B-8558-A30E5A54522E}" sibTransId="{CE94F93C-375A-414D-A7F2-B47DAF51C29D}"/>
    <dgm:cxn modelId="{EB419344-8E70-4002-835C-0D661E0636FB}" type="presOf" srcId="{C0B4AD36-6ACD-40A7-BA65-4949F5E57312}" destId="{FCD3DA1D-3C8E-441D-8097-9302C824752C}" srcOrd="1" destOrd="4" presId="urn:microsoft.com/office/officeart/2005/8/layout/hList7"/>
    <dgm:cxn modelId="{A06A1C45-1C34-4F5A-A4A4-50E185429DC1}" type="presOf" srcId="{7C965FE3-DD92-4091-88FE-D6D2EAF30BC1}" destId="{FCD3DA1D-3C8E-441D-8097-9302C824752C}" srcOrd="1" destOrd="0" presId="urn:microsoft.com/office/officeart/2005/8/layout/hList7"/>
    <dgm:cxn modelId="{4C112F47-C8E1-41C6-AC00-F679A37AA0F1}" type="presOf" srcId="{5CC58E07-8929-4D5D-9D46-9F35DA3F0B95}" destId="{F40CF809-2810-4860-AC73-A20EF510A847}" srcOrd="0" destOrd="0" presId="urn:microsoft.com/office/officeart/2005/8/layout/hList7"/>
    <dgm:cxn modelId="{8E90A567-7842-4BE3-8EB0-7E2CE1CBA192}" type="presOf" srcId="{402932E3-BE5D-402A-9C87-4600A418A01F}" destId="{55687E20-1FA8-4643-A582-4248149F6612}" srcOrd="0" destOrd="2" presId="urn:microsoft.com/office/officeart/2005/8/layout/hList7"/>
    <dgm:cxn modelId="{9286044A-5CE8-4F7A-9AFA-F3632AE5315B}" type="presOf" srcId="{56ABC171-25C6-4FCD-87C8-109D6312E6DA}" destId="{55687E20-1FA8-4643-A582-4248149F6612}" srcOrd="0" destOrd="1" presId="urn:microsoft.com/office/officeart/2005/8/layout/hList7"/>
    <dgm:cxn modelId="{EB5F056A-1D9F-4148-BD0C-18F7B4A676D3}" type="presOf" srcId="{402932E3-BE5D-402A-9C87-4600A418A01F}" destId="{DE84AD04-89E5-47A2-970F-14B7B8209691}" srcOrd="1" destOrd="2" presId="urn:microsoft.com/office/officeart/2005/8/layout/hList7"/>
    <dgm:cxn modelId="{D379AA4E-26AF-4F14-97D7-06992A590DD6}" srcId="{7C965FE3-DD92-4091-88FE-D6D2EAF30BC1}" destId="{6791FD48-50DD-45B6-A4E2-BBBC2B2FBE33}" srcOrd="2" destOrd="0" parTransId="{F30FD5D5-DE9D-4E1D-8C73-DBC53B82D45B}" sibTransId="{4D233824-83F5-4FD9-875C-10D6CC7AD96B}"/>
    <dgm:cxn modelId="{AE389B6F-A8E6-4DF8-AD1E-6DDD640C2836}" srcId="{7988F297-D15C-4C11-ADEB-B542C87EF07D}" destId="{17E1B48F-FFE9-4E3C-B286-2C8D78B67095}" srcOrd="2" destOrd="0" parTransId="{000D60EA-F685-4B17-BE16-48AD51E8CF55}" sibTransId="{9B63D1FF-475E-4CA7-9FB6-5F7F8D9AE45C}"/>
    <dgm:cxn modelId="{9F586C75-FFD3-4F75-B47A-02D6BDE3F582}" type="presOf" srcId="{0CD84548-BFF6-4549-B6D6-56E3F96EF59C}" destId="{8A56D2D2-A8F0-4611-B107-DFDD92198B79}" srcOrd="1" destOrd="1" presId="urn:microsoft.com/office/officeart/2005/8/layout/hList7"/>
    <dgm:cxn modelId="{85016B76-B0E7-4B30-BAEE-AE33B8A17A1D}" type="presOf" srcId="{6791FD48-50DD-45B6-A4E2-BBBC2B2FBE33}" destId="{8F606117-646B-465E-8292-304040BE07E0}" srcOrd="0" destOrd="3" presId="urn:microsoft.com/office/officeart/2005/8/layout/hList7"/>
    <dgm:cxn modelId="{660ACD76-9BA4-4C77-9A8D-D0C340E478F9}" type="presOf" srcId="{C77D1640-694D-43CF-8054-B2BA6DC55A69}" destId="{2D1CA7CF-A6A6-4557-8E3C-937803DA951B}" srcOrd="0" destOrd="0" presId="urn:microsoft.com/office/officeart/2005/8/layout/hList7"/>
    <dgm:cxn modelId="{4B3CAC77-35C3-45AB-995A-7393F77010BC}" type="presOf" srcId="{72045757-4B40-412D-B9B0-445ABDE9951B}" destId="{8A56D2D2-A8F0-4611-B107-DFDD92198B79}" srcOrd="1" destOrd="2" presId="urn:microsoft.com/office/officeart/2005/8/layout/hList7"/>
    <dgm:cxn modelId="{ACCCED78-9E7D-4763-99F0-7C7BC4C4AEA1}" type="presOf" srcId="{7C965FE3-DD92-4091-88FE-D6D2EAF30BC1}" destId="{8F606117-646B-465E-8292-304040BE07E0}" srcOrd="0" destOrd="0" presId="urn:microsoft.com/office/officeart/2005/8/layout/hList7"/>
    <dgm:cxn modelId="{DF0FA47E-C1A3-43B2-9450-71FD2FB5CB2F}" srcId="{AC9B3D44-A0CC-4574-B33D-B138ED440CDA}" destId="{7988F297-D15C-4C11-ADEB-B542C87EF07D}" srcOrd="0" destOrd="0" parTransId="{FC68F2A7-E56B-4E99-AC26-B70C2BBEA1CB}" sibTransId="{C77D1640-694D-43CF-8054-B2BA6DC55A69}"/>
    <dgm:cxn modelId="{330C6483-4FE5-469D-9627-40B206539E2F}" type="presOf" srcId="{1253067A-D2DD-440E-8B42-C5C0955E4308}" destId="{8F606117-646B-465E-8292-304040BE07E0}" srcOrd="0" destOrd="1" presId="urn:microsoft.com/office/officeart/2005/8/layout/hList7"/>
    <dgm:cxn modelId="{04C57394-FF34-4446-8E22-1E82B07BCC38}" srcId="{7C965FE3-DD92-4091-88FE-D6D2EAF30BC1}" destId="{ABA0481D-5353-4284-8F70-8217ADE56E28}" srcOrd="1" destOrd="0" parTransId="{9957A3A7-ABC0-4037-B6E3-1A8507F4FB17}" sibTransId="{7ADBB19E-27FE-4532-9932-0EBBA36D98F1}"/>
    <dgm:cxn modelId="{14C21C9D-CBE5-44AD-850D-3E3548759A52}" type="presOf" srcId="{7988F297-D15C-4C11-ADEB-B542C87EF07D}" destId="{55687E20-1FA8-4643-A582-4248149F6612}" srcOrd="0" destOrd="0" presId="urn:microsoft.com/office/officeart/2005/8/layout/hList7"/>
    <dgm:cxn modelId="{B3D0B5A1-57F5-4AA1-8A22-41E1E977FAAE}" srcId="{7988F297-D15C-4C11-ADEB-B542C87EF07D}" destId="{56ABC171-25C6-4FCD-87C8-109D6312E6DA}" srcOrd="0" destOrd="0" parTransId="{DEA26E50-8D74-48ED-B7D8-0DD7CBE75C9F}" sibTransId="{9DDB3FC6-B9FA-430D-855F-9023834ABCFC}"/>
    <dgm:cxn modelId="{0DA492A5-8E61-419A-83C4-2C546F1A89A3}" type="presOf" srcId="{1253067A-D2DD-440E-8B42-C5C0955E4308}" destId="{FCD3DA1D-3C8E-441D-8097-9302C824752C}" srcOrd="1" destOrd="1" presId="urn:microsoft.com/office/officeart/2005/8/layout/hList7"/>
    <dgm:cxn modelId="{5F5EBCB0-BA98-4078-9586-9E03CF548CBE}" srcId="{7C965FE3-DD92-4091-88FE-D6D2EAF30BC1}" destId="{1253067A-D2DD-440E-8B42-C5C0955E4308}" srcOrd="0" destOrd="0" parTransId="{E8AFBCAC-1386-4A80-A538-712F98AB4BB3}" sibTransId="{044925F0-CCD5-4F75-8CBD-0C0191990BDF}"/>
    <dgm:cxn modelId="{8C04FCB5-1DD4-4993-A160-83BA936D8DB8}" type="presOf" srcId="{58AD87BF-8ED0-4BD5-9EEA-71BAD1A61B00}" destId="{8A56D2D2-A8F0-4611-B107-DFDD92198B79}" srcOrd="1" destOrd="0" presId="urn:microsoft.com/office/officeart/2005/8/layout/hList7"/>
    <dgm:cxn modelId="{136F9DD3-163E-4B5C-90BF-0B126A565928}" type="presOf" srcId="{ABA0481D-5353-4284-8F70-8217ADE56E28}" destId="{8F606117-646B-465E-8292-304040BE07E0}" srcOrd="0" destOrd="2" presId="urn:microsoft.com/office/officeart/2005/8/layout/hList7"/>
    <dgm:cxn modelId="{A88B89D6-21AA-4059-BF05-67BF2D37C327}" srcId="{58AD87BF-8ED0-4BD5-9EEA-71BAD1A61B00}" destId="{0CD84548-BFF6-4549-B6D6-56E3F96EF59C}" srcOrd="0" destOrd="0" parTransId="{F24A66F6-F3CE-43B0-918C-CA2DB2E57E0E}" sibTransId="{6DA2A878-1E2C-4D4E-98B0-0AA615306596}"/>
    <dgm:cxn modelId="{898AC3E4-0D9B-4921-B4E8-2CAB0598ECFA}" srcId="{AC9B3D44-A0CC-4574-B33D-B138ED440CDA}" destId="{7C965FE3-DD92-4091-88FE-D6D2EAF30BC1}" srcOrd="1" destOrd="0" parTransId="{78501AFD-3110-4721-B8BC-883AB3F5ACC3}" sibTransId="{5CC58E07-8929-4D5D-9D46-9F35DA3F0B95}"/>
    <dgm:cxn modelId="{716E73E9-CCA1-4119-8939-C117B7BFB6AA}" type="presOf" srcId="{AC9B3D44-A0CC-4574-B33D-B138ED440CDA}" destId="{655CBF77-9A63-421A-AFBE-75B9C45ABE67}" srcOrd="0" destOrd="0" presId="urn:microsoft.com/office/officeart/2005/8/layout/hList7"/>
    <dgm:cxn modelId="{3F416FFF-4779-498A-BF09-DA80203FDFEC}" type="presOf" srcId="{58AD87BF-8ED0-4BD5-9EEA-71BAD1A61B00}" destId="{8D06AC0C-77D1-4D09-BBD4-B2552996B2C6}" srcOrd="0" destOrd="0" presId="urn:microsoft.com/office/officeart/2005/8/layout/hList7"/>
    <dgm:cxn modelId="{93B8D754-60DD-4F68-BA71-B5999D904B7A}" type="presParOf" srcId="{655CBF77-9A63-421A-AFBE-75B9C45ABE67}" destId="{0EFEA4C1-0E3A-4093-8E30-F6AF7CF7EBA7}" srcOrd="0" destOrd="0" presId="urn:microsoft.com/office/officeart/2005/8/layout/hList7"/>
    <dgm:cxn modelId="{773D76A8-056F-4CBA-BE9F-53794513C95E}" type="presParOf" srcId="{655CBF77-9A63-421A-AFBE-75B9C45ABE67}" destId="{C7E1B2EE-19E1-4800-9431-55A7119D50CB}" srcOrd="1" destOrd="0" presId="urn:microsoft.com/office/officeart/2005/8/layout/hList7"/>
    <dgm:cxn modelId="{0602CD2F-403E-4C2A-B9BF-CED7AC6D00F4}" type="presParOf" srcId="{C7E1B2EE-19E1-4800-9431-55A7119D50CB}" destId="{90D0FBA3-1821-4689-81FD-C94EE3C7F9B9}" srcOrd="0" destOrd="0" presId="urn:microsoft.com/office/officeart/2005/8/layout/hList7"/>
    <dgm:cxn modelId="{A29F5343-EE26-4D07-9A11-6F3269768007}" type="presParOf" srcId="{90D0FBA3-1821-4689-81FD-C94EE3C7F9B9}" destId="{55687E20-1FA8-4643-A582-4248149F6612}" srcOrd="0" destOrd="0" presId="urn:microsoft.com/office/officeart/2005/8/layout/hList7"/>
    <dgm:cxn modelId="{55AFA55E-BFB1-42E0-9A23-243A39AD8AD3}" type="presParOf" srcId="{90D0FBA3-1821-4689-81FD-C94EE3C7F9B9}" destId="{DE84AD04-89E5-47A2-970F-14B7B8209691}" srcOrd="1" destOrd="0" presId="urn:microsoft.com/office/officeart/2005/8/layout/hList7"/>
    <dgm:cxn modelId="{EC11A346-AC66-47F0-AD51-F0E9BF9F4E36}" type="presParOf" srcId="{90D0FBA3-1821-4689-81FD-C94EE3C7F9B9}" destId="{402F1CC4-5695-41E1-8AA7-CD19DF34AFCF}" srcOrd="2" destOrd="0" presId="urn:microsoft.com/office/officeart/2005/8/layout/hList7"/>
    <dgm:cxn modelId="{2CB67B0A-5DC5-4F38-9B0A-99F695D826AF}" type="presParOf" srcId="{90D0FBA3-1821-4689-81FD-C94EE3C7F9B9}" destId="{C75BD736-1A41-4863-B89F-6A03CC41A67F}" srcOrd="3" destOrd="0" presId="urn:microsoft.com/office/officeart/2005/8/layout/hList7"/>
    <dgm:cxn modelId="{1A6D9030-673F-4FB2-8B2D-939B9ACD5BF6}" type="presParOf" srcId="{C7E1B2EE-19E1-4800-9431-55A7119D50CB}" destId="{2D1CA7CF-A6A6-4557-8E3C-937803DA951B}" srcOrd="1" destOrd="0" presId="urn:microsoft.com/office/officeart/2005/8/layout/hList7"/>
    <dgm:cxn modelId="{B8EF0B88-6200-49DC-A2A6-BCC26FE3F465}" type="presParOf" srcId="{C7E1B2EE-19E1-4800-9431-55A7119D50CB}" destId="{463304A1-6D59-4BB7-A3DA-FF9962AC7ADA}" srcOrd="2" destOrd="0" presId="urn:microsoft.com/office/officeart/2005/8/layout/hList7"/>
    <dgm:cxn modelId="{44B3D35E-13F6-4D7D-B3EC-C36E1D3C4054}" type="presParOf" srcId="{463304A1-6D59-4BB7-A3DA-FF9962AC7ADA}" destId="{8F606117-646B-465E-8292-304040BE07E0}" srcOrd="0" destOrd="0" presId="urn:microsoft.com/office/officeart/2005/8/layout/hList7"/>
    <dgm:cxn modelId="{52E464FC-EE9F-409E-8A32-360128C5761D}" type="presParOf" srcId="{463304A1-6D59-4BB7-A3DA-FF9962AC7ADA}" destId="{FCD3DA1D-3C8E-441D-8097-9302C824752C}" srcOrd="1" destOrd="0" presId="urn:microsoft.com/office/officeart/2005/8/layout/hList7"/>
    <dgm:cxn modelId="{DE5B5CEB-A64D-4637-9631-531F56C6D3C8}" type="presParOf" srcId="{463304A1-6D59-4BB7-A3DA-FF9962AC7ADA}" destId="{B6818608-1529-42C1-B5FE-D7FA495704D3}" srcOrd="2" destOrd="0" presId="urn:microsoft.com/office/officeart/2005/8/layout/hList7"/>
    <dgm:cxn modelId="{8ADF51CC-55DA-4B88-9A18-B5A1F649CF51}" type="presParOf" srcId="{463304A1-6D59-4BB7-A3DA-FF9962AC7ADA}" destId="{C71662BE-94CA-4868-A3CB-A0F5E15A0B81}" srcOrd="3" destOrd="0" presId="urn:microsoft.com/office/officeart/2005/8/layout/hList7"/>
    <dgm:cxn modelId="{6FBC9443-51B0-459C-8B22-61C8FC5C1A3B}" type="presParOf" srcId="{C7E1B2EE-19E1-4800-9431-55A7119D50CB}" destId="{F40CF809-2810-4860-AC73-A20EF510A847}" srcOrd="3" destOrd="0" presId="urn:microsoft.com/office/officeart/2005/8/layout/hList7"/>
    <dgm:cxn modelId="{1979E312-5295-4A2F-8CE4-0C86DB7A93EC}" type="presParOf" srcId="{C7E1B2EE-19E1-4800-9431-55A7119D50CB}" destId="{23ECCDE1-3A92-4955-9255-57E782108C5D}" srcOrd="4" destOrd="0" presId="urn:microsoft.com/office/officeart/2005/8/layout/hList7"/>
    <dgm:cxn modelId="{31DA3375-26FC-4991-84BB-BB28F945BEDA}" type="presParOf" srcId="{23ECCDE1-3A92-4955-9255-57E782108C5D}" destId="{8D06AC0C-77D1-4D09-BBD4-B2552996B2C6}" srcOrd="0" destOrd="0" presId="urn:microsoft.com/office/officeart/2005/8/layout/hList7"/>
    <dgm:cxn modelId="{EA06842D-B976-4008-AC24-01F3664968E9}" type="presParOf" srcId="{23ECCDE1-3A92-4955-9255-57E782108C5D}" destId="{8A56D2D2-A8F0-4611-B107-DFDD92198B79}" srcOrd="1" destOrd="0" presId="urn:microsoft.com/office/officeart/2005/8/layout/hList7"/>
    <dgm:cxn modelId="{C60A5C42-0DC6-4960-A7F6-91B9F6BB789C}" type="presParOf" srcId="{23ECCDE1-3A92-4955-9255-57E782108C5D}" destId="{291F2235-B9EE-490C-B7C1-A80F213454F3}" srcOrd="2" destOrd="0" presId="urn:microsoft.com/office/officeart/2005/8/layout/hList7"/>
    <dgm:cxn modelId="{F0F80D46-BCD6-4A60-8218-E90044CFFCF6}" type="presParOf" srcId="{23ECCDE1-3A92-4955-9255-57E782108C5D}" destId="{3121972C-1790-4663-AE61-2148EF6FDCD2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687E20-1FA8-4643-A582-4248149F6612}">
      <dsp:nvSpPr>
        <dsp:cNvPr id="0" name=""/>
        <dsp:cNvSpPr/>
      </dsp:nvSpPr>
      <dsp:spPr>
        <a:xfrm>
          <a:off x="2323" y="0"/>
          <a:ext cx="3614453" cy="4351338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1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latin typeface="Segoe UI" panose="020B0502040204020203" pitchFamily="34" charset="0"/>
              <a:cs typeface="Segoe UI" panose="020B0502040204020203" pitchFamily="34" charset="0"/>
            </a:rPr>
            <a:t>Infrastructure management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 err="1">
              <a:latin typeface="Segoe UI" panose="020B0502040204020203" pitchFamily="34" charset="0"/>
              <a:cs typeface="Segoe UI" panose="020B0502040204020203" pitchFamily="34" charset="0"/>
            </a:rPr>
            <a:t>IaC</a:t>
          </a:r>
          <a:endParaRPr lang="en-US" sz="2000" kern="1200" dirty="0">
            <a:latin typeface="Segoe UI" panose="020B0502040204020203" pitchFamily="34" charset="0"/>
            <a:cs typeface="Segoe UI" panose="020B0502040204020203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 err="1">
              <a:latin typeface="Segoe UI" panose="020B0502040204020203" pitchFamily="34" charset="0"/>
              <a:cs typeface="Segoe UI" panose="020B0502040204020203" pitchFamily="34" charset="0"/>
            </a:rPr>
            <a:t>GitOps</a:t>
          </a:r>
          <a:endParaRPr lang="en-US" sz="2000" kern="1200" dirty="0">
            <a:latin typeface="Segoe UI" panose="020B0502040204020203" pitchFamily="34" charset="0"/>
            <a:cs typeface="Segoe UI" panose="020B0502040204020203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Segoe UI" panose="020B0502040204020203" pitchFamily="34" charset="0"/>
              <a:cs typeface="Segoe UI" panose="020B0502040204020203" pitchFamily="34" charset="0"/>
            </a:rPr>
            <a:t>Catalog</a:t>
          </a:r>
        </a:p>
      </dsp:txBody>
      <dsp:txXfrm>
        <a:off x="2323" y="1740535"/>
        <a:ext cx="3614453" cy="1740535"/>
      </dsp:txXfrm>
    </dsp:sp>
    <dsp:sp modelId="{C75BD736-1A41-4863-B89F-6A03CC41A67F}">
      <dsp:nvSpPr>
        <dsp:cNvPr id="0" name=""/>
        <dsp:cNvSpPr/>
      </dsp:nvSpPr>
      <dsp:spPr>
        <a:xfrm>
          <a:off x="1085052" y="261080"/>
          <a:ext cx="1448995" cy="1448995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8F606117-646B-465E-8292-304040BE07E0}">
      <dsp:nvSpPr>
        <dsp:cNvPr id="0" name=""/>
        <dsp:cNvSpPr/>
      </dsp:nvSpPr>
      <dsp:spPr>
        <a:xfrm>
          <a:off x="3725210" y="0"/>
          <a:ext cx="3614453" cy="4351338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1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latin typeface="Segoe UI" panose="020B0502040204020203" pitchFamily="34" charset="0"/>
              <a:cs typeface="Segoe UI" panose="020B0502040204020203" pitchFamily="34" charset="0"/>
            </a:rPr>
            <a:t>Azure Template Spec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0" kern="1200" dirty="0">
              <a:latin typeface="Segoe UI" panose="020B0502040204020203" pitchFamily="34" charset="0"/>
              <a:cs typeface="Segoe UI" panose="020B0502040204020203" pitchFamily="34" charset="0"/>
            </a:rPr>
            <a:t>Deployment Option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Segoe UI" panose="020B0502040204020203" pitchFamily="34" charset="0"/>
              <a:cs typeface="Segoe UI" panose="020B0502040204020203" pitchFamily="34" charset="0"/>
            </a:rPr>
            <a:t>Template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Segoe UI" panose="020B0502040204020203" pitchFamily="34" charset="0"/>
              <a:cs typeface="Segoe UI" panose="020B0502040204020203" pitchFamily="34" charset="0"/>
            </a:rPr>
            <a:t>User Interface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Segoe UI" panose="020B0502040204020203" pitchFamily="34" charset="0"/>
              <a:cs typeface="Segoe UI" panose="020B0502040204020203" pitchFamily="34" charset="0"/>
            </a:rPr>
            <a:t>Composition</a:t>
          </a:r>
        </a:p>
      </dsp:txBody>
      <dsp:txXfrm>
        <a:off x="3725210" y="1740535"/>
        <a:ext cx="3614453" cy="1740535"/>
      </dsp:txXfrm>
    </dsp:sp>
    <dsp:sp modelId="{C71662BE-94CA-4868-A3CB-A0F5E15A0B81}">
      <dsp:nvSpPr>
        <dsp:cNvPr id="0" name=""/>
        <dsp:cNvSpPr/>
      </dsp:nvSpPr>
      <dsp:spPr>
        <a:xfrm>
          <a:off x="4807939" y="261080"/>
          <a:ext cx="1448995" cy="1448995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8D06AC0C-77D1-4D09-BBD4-B2552996B2C6}">
      <dsp:nvSpPr>
        <dsp:cNvPr id="0" name=""/>
        <dsp:cNvSpPr/>
      </dsp:nvSpPr>
      <dsp:spPr>
        <a:xfrm>
          <a:off x="7448098" y="0"/>
          <a:ext cx="3614453" cy="4351338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1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latin typeface="Segoe UI" panose="020B0502040204020203" pitchFamily="34" charset="0"/>
              <a:cs typeface="Segoe UI" panose="020B0502040204020203" pitchFamily="34" charset="0"/>
            </a:rPr>
            <a:t>Conclusions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b="1" kern="1200" dirty="0">
              <a:latin typeface="Segoe UI" panose="020B0502040204020203" pitchFamily="34" charset="0"/>
              <a:cs typeface="Segoe UI" panose="020B0502040204020203" pitchFamily="34" charset="0"/>
            </a:rPr>
            <a:t>TS everywhere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b="1" kern="1200" dirty="0">
              <a:latin typeface="Segoe UI" panose="020B0502040204020203" pitchFamily="34" charset="0"/>
              <a:cs typeface="Segoe UI" panose="020B0502040204020203" pitchFamily="34" charset="0"/>
            </a:rPr>
            <a:t>TS for non prod</a:t>
          </a:r>
        </a:p>
      </dsp:txBody>
      <dsp:txXfrm>
        <a:off x="7448098" y="1740535"/>
        <a:ext cx="3614453" cy="1740535"/>
      </dsp:txXfrm>
    </dsp:sp>
    <dsp:sp modelId="{3121972C-1790-4663-AE61-2148EF6FDCD2}">
      <dsp:nvSpPr>
        <dsp:cNvPr id="0" name=""/>
        <dsp:cNvSpPr/>
      </dsp:nvSpPr>
      <dsp:spPr>
        <a:xfrm>
          <a:off x="8530827" y="261080"/>
          <a:ext cx="1448995" cy="1448995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0EFEA4C1-0E3A-4093-8E30-F6AF7CF7EBA7}">
      <dsp:nvSpPr>
        <dsp:cNvPr id="0" name=""/>
        <dsp:cNvSpPr/>
      </dsp:nvSpPr>
      <dsp:spPr>
        <a:xfrm>
          <a:off x="2247351" y="3481070"/>
          <a:ext cx="6570172" cy="652700"/>
        </a:xfrm>
        <a:prstGeom prst="leftRightArrow">
          <a:avLst/>
        </a:prstGeom>
        <a:noFill/>
        <a:ln w="19050" cap="flat" cmpd="sng" algn="ctr">
          <a:noFill/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90D770-57B5-41AE-94A5-8172B3072938}" type="datetimeFigureOut">
              <a:rPr lang="en-US" smtClean="0"/>
              <a:t>9/2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221A22-6757-4DFC-AC52-B0B349051E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1146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39426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93534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4390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2736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4412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32855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09088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05BF1E-1166-42E4-A650-DA8B4F7A4A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0E45B50-3542-4823-BBEB-016A3A15D8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0FC5B5-1E1F-4F0D-B339-EA77AC1BB0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491C48-D9A0-4212-BCF5-162DC3A6DE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4B34A6-D8EB-4985-AFC2-02935CB5BE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435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258ECF-D4A1-455D-9C89-5A8918AFA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CD0D2A3-2723-4E51-91B3-96FFD9473F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EA93C8-8A6A-48B8-B7B4-54AC10D34E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ABC066-172F-47A4-8A21-C259819B8F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0ADF40-0E2A-4CEA-BE91-AD2B23CCE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3571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779E898-53E5-4DB6-8E1F-441A34BE954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4A75BBB-D183-48AD-B055-BEDA3A1886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837008-1508-4D8A-AFCC-DD48481AE4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F37FAC-F0B4-471F-B51A-D1C1468AC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A7B634-79C3-488C-BF4B-4BC20173C5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30022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5FFCFD5-7549-46DE-99AE-A249D5D5F3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7915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5FFCFD5-7549-46DE-99AE-A249D5D5F3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BFE13E35-06C7-4AAE-AA3F-972308AF3A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8300B4D-EA0D-4DD5-92FE-9AE5CDD9248C}"/>
              </a:ext>
            </a:extLst>
          </p:cNvPr>
          <p:cNvSpPr/>
          <p:nvPr userDrawn="1"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D3AD22B-25E4-4680-8484-6D885B9CCEE8}"/>
              </a:ext>
            </a:extLst>
          </p:cNvPr>
          <p:cNvSpPr/>
          <p:nvPr userDrawn="1"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EED8CC-574A-4170-AB23-424B7F5BD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243" y="365125"/>
            <a:ext cx="11063515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8B05A6-6B64-4F04-A952-8081607C02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798E3A-8CEB-4709-9B49-E0C39D4180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64243" y="6356350"/>
            <a:ext cx="41148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743404-9A57-4735-ACBB-7108D1A427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90564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0BC0DB-6472-43BB-ABA8-D8F66889EE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6A6C4A-7E58-4AE3-A079-EA1D8F7E5D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3E6C5A-FADC-4464-B574-84BE9A9AE8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D5AB64-3B8F-469A-9E9D-31AF0A6732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644728-1BF7-442A-8B14-27772F7F28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526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073B3-B0D0-4D5C-92E7-2AAFB805B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5FC71F-EE36-48B6-8807-2B48ADDC14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7774ED-94F7-48EB-BB14-292A9DEEAC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125242-488C-4F35-9C69-034559477E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5215A4-C697-4853-B389-4388146820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855D4F-3EC5-48E5-93CF-5B3955743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5175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15FD3B-62B2-40A7-9C5E-D59A563B85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4B52F2-0C45-40FA-BA05-6D71C76750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3162A5-558A-4178-A596-17F9AF8950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E18D29-500B-4D5C-84EE-272E40FA2C0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28AE882-0C6C-4945-9BD8-8C7D92F8A4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1AFC0EB-3EF1-49E9-9D2B-5BC44206CE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9879882-1555-42E6-BADE-2724267BF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CF01C58-BCC5-4D09-986E-2B2C179B6A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7770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100A9B-3C47-40D5-B012-97B76E52F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CFC465-660A-4C1D-BADB-F3AC3396EA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1BCC98-DE68-44EC-840A-9FB43DB0E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09EF7D-6C8E-4283-BB47-AA9AB6DB1F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79572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C42AA79-F984-4422-BF6F-50883D79C8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D2003D-CE92-47E4-8106-E66ED1BB9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63EB9E-00B9-4AB1-BC48-99741F2FC0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1626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E5B6F4-ADD4-4797-8738-409BE6538E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2E08F3-F99C-4CB5-8E61-6D9945F554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81CE58-44DA-48F3-ADE9-ED905CAD55B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6EB04A-137F-416C-9B0B-195B39A68B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75602A-70AE-46FE-89FD-5EA00F3965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F55F41-E685-4D3D-9929-3E02B7233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9632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D18340-4AF0-4FF0-8817-AE7B28572D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FFB86DB-D51B-4F95-A82B-E19F9D7364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60E2CC-1033-48AC-9E85-26A7C2E8988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05152D4-B87B-4D90-9451-5EA4B577FD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44E855-F194-46C7-B1A7-F4AB5C0AA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DD6947-6438-4AB6-958F-A11FF5ED67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0153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F91C388-EB4B-48EF-9782-5EF82E15A8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73655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F91C388-EB4B-48EF-9782-5EF82E15A8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6704376-6210-4E3A-9786-1426DDE0A945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20A06BC-D081-497A-9E69-9C9229194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1365F-4FB0-4D50-AD30-EB300A5FDD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4575C3-6B77-45F9-8BB3-CF2AEE26EF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FB4E16-9F6A-4AE3-A484-182F2B6722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B73065-0481-485F-8A72-5FC7E24E89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37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4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6.png"/><Relationship Id="rId4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6.png"/><Relationship Id="rId7" Type="http://schemas.openxmlformats.org/officeDocument/2006/relationships/image" Target="../media/image14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azure/azure-resource-manager/managed-applications/create-uidefinition-functions" TargetMode="External"/><Relationship Id="rId7" Type="http://schemas.openxmlformats.org/officeDocument/2006/relationships/image" Target="../media/image24.png"/><Relationship Id="rId2" Type="http://schemas.openxmlformats.org/officeDocument/2006/relationships/hyperlink" Target="https://learn.microsoft.com/en-us/azure/azure-resource-manager/managed-applications/create-uidefinition-elements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portal.azure.com/#view/Microsoft_Azure_CreateUIDef/FormSandboxBlade" TargetMode="Externa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atevnotes.com/using-blades-from-the-azure-portal-for-ui-of-template-specs/" TargetMode="External"/><Relationship Id="rId2" Type="http://schemas.openxmlformats.org/officeDocument/2006/relationships/hyperlink" Target="https://github.com/Azure/portaldocs/tree/main/portal-sdk/generated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gatevnotes.com/uncovering-blade-names-and-parameters-azure-portal/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7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7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34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9.jpeg"/><Relationship Id="rId12" Type="http://schemas.openxmlformats.org/officeDocument/2006/relationships/image" Target="../media/image3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6" Type="http://schemas.openxmlformats.org/officeDocument/2006/relationships/image" Target="../media/image1.emf"/><Relationship Id="rId11" Type="http://schemas.openxmlformats.org/officeDocument/2006/relationships/image" Target="../media/image32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31.png"/><Relationship Id="rId4" Type="http://schemas.openxmlformats.org/officeDocument/2006/relationships/image" Target="../media/image28.png"/><Relationship Id="rId9" Type="http://schemas.openxmlformats.org/officeDocument/2006/relationships/image" Target="../media/image30.png"/><Relationship Id="rId14" Type="http://schemas.openxmlformats.org/officeDocument/2006/relationships/image" Target="../media/image3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8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43">
            <a:extLst>
              <a:ext uri="{FF2B5EF4-FFF2-40B4-BE49-F238E27FC236}">
                <a16:creationId xmlns:a16="http://schemas.microsoft.com/office/drawing/2014/main" id="{A3A27C55-E75A-9B9F-F55F-87FEA568A8F9}"/>
              </a:ext>
            </a:extLst>
          </p:cNvPr>
          <p:cNvPicPr>
            <a:picLocks noGrp="1" noChangeAspect="1"/>
          </p:cNvPicPr>
          <p:nvPr isPhoto="1"/>
        </p:nvPicPr>
        <p:blipFill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7575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rastructure As Code (</a:t>
            </a:r>
            <a:r>
              <a:rPr lang="en-US" dirty="0" err="1"/>
              <a:t>IaC</a:t>
            </a:r>
            <a:r>
              <a:rPr lang="en-US" dirty="0"/>
              <a:t>) via Catalog UI Form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Takes proven coding practices to continuously deliver infrastructure, and software running on it rapidly and at scale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0AAB136-8414-6A21-03A5-A9548743C734}"/>
              </a:ext>
            </a:extLst>
          </p:cNvPr>
          <p:cNvSpPr txBox="1">
            <a:spLocks/>
          </p:cNvSpPr>
          <p:nvPr/>
        </p:nvSpPr>
        <p:spPr>
          <a:xfrm>
            <a:off x="1107687" y="4644482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Pros</a:t>
            </a:r>
          </a:p>
          <a:p>
            <a:pPr>
              <a:buFontTx/>
              <a:buChar char="-"/>
            </a:pPr>
            <a:endParaRPr lang="en-US" sz="2000" dirty="0"/>
          </a:p>
          <a:p>
            <a:pPr>
              <a:buFontTx/>
              <a:buChar char="-"/>
            </a:pPr>
            <a:r>
              <a:rPr lang="en-US" sz="2000" dirty="0"/>
              <a:t>Triggerable from other systems (UX)</a:t>
            </a:r>
          </a:p>
          <a:p>
            <a:pPr>
              <a:buFontTx/>
              <a:buChar char="-"/>
            </a:pPr>
            <a:endParaRPr lang="en-US" sz="2000" dirty="0"/>
          </a:p>
          <a:p>
            <a:pPr>
              <a:buFontTx/>
              <a:buChar char="-"/>
            </a:pPr>
            <a:endParaRPr lang="en-US" sz="200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EAB7573-B6B5-D04C-1A8F-E527D8F51F82}"/>
              </a:ext>
            </a:extLst>
          </p:cNvPr>
          <p:cNvSpPr txBox="1">
            <a:spLocks/>
          </p:cNvSpPr>
          <p:nvPr/>
        </p:nvSpPr>
        <p:spPr>
          <a:xfrm>
            <a:off x="8184243" y="4646341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Cons</a:t>
            </a:r>
          </a:p>
          <a:p>
            <a:pPr>
              <a:buFontTx/>
              <a:buChar char="-"/>
            </a:pPr>
            <a:r>
              <a:rPr lang="en-US" sz="2000" dirty="0"/>
              <a:t>Sub-optimal UX</a:t>
            </a:r>
          </a:p>
          <a:p>
            <a:pPr>
              <a:buFontTx/>
              <a:buChar char="-"/>
            </a:pPr>
            <a:r>
              <a:rPr lang="en-US" sz="2000" dirty="0"/>
              <a:t>Input errors</a:t>
            </a:r>
          </a:p>
          <a:p>
            <a:pPr>
              <a:buFontTx/>
              <a:buChar char="-"/>
            </a:pPr>
            <a:r>
              <a:rPr lang="en-US" sz="2000" dirty="0"/>
              <a:t>No change history</a:t>
            </a:r>
          </a:p>
          <a:p>
            <a:pPr>
              <a:buFontTx/>
              <a:buChar char="-"/>
            </a:pPr>
            <a:r>
              <a:rPr lang="en-US" sz="2000" dirty="0"/>
              <a:t>Single deployment identity masks the actor in azu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37035" y="2648860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2400" y="2447123"/>
            <a:ext cx="1963754" cy="196375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1F45828B-8F5C-FF73-3C4B-A998B8DAC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5965" y="2364959"/>
            <a:ext cx="1064041" cy="1064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037AAB4F-B00B-7F7E-8EB1-FE647FD652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619" y="2368998"/>
            <a:ext cx="809625" cy="933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3478140-8BE6-5525-DF07-9358650A627B}"/>
              </a:ext>
            </a:extLst>
          </p:cNvPr>
          <p:cNvSpPr/>
          <p:nvPr/>
        </p:nvSpPr>
        <p:spPr>
          <a:xfrm>
            <a:off x="4360333" y="2172900"/>
            <a:ext cx="3398039" cy="4439567"/>
          </a:xfrm>
          <a:custGeom>
            <a:avLst/>
            <a:gdLst>
              <a:gd name="connsiteX0" fmla="*/ 0 w 3398039"/>
              <a:gd name="connsiteY0" fmla="*/ 566351 h 4439567"/>
              <a:gd name="connsiteX1" fmla="*/ 566351 w 3398039"/>
              <a:gd name="connsiteY1" fmla="*/ 0 h 4439567"/>
              <a:gd name="connsiteX2" fmla="*/ 1177992 w 3398039"/>
              <a:gd name="connsiteY2" fmla="*/ 0 h 4439567"/>
              <a:gd name="connsiteX3" fmla="*/ 1721673 w 3398039"/>
              <a:gd name="connsiteY3" fmla="*/ 0 h 4439567"/>
              <a:gd name="connsiteX4" fmla="*/ 2242700 w 3398039"/>
              <a:gd name="connsiteY4" fmla="*/ 0 h 4439567"/>
              <a:gd name="connsiteX5" fmla="*/ 2831688 w 3398039"/>
              <a:gd name="connsiteY5" fmla="*/ 0 h 4439567"/>
              <a:gd name="connsiteX6" fmla="*/ 3398039 w 3398039"/>
              <a:gd name="connsiteY6" fmla="*/ 566351 h 4439567"/>
              <a:gd name="connsiteX7" fmla="*/ 3398039 w 3398039"/>
              <a:gd name="connsiteY7" fmla="*/ 1117495 h 4439567"/>
              <a:gd name="connsiteX8" fmla="*/ 3398039 w 3398039"/>
              <a:gd name="connsiteY8" fmla="*/ 1734777 h 4439567"/>
              <a:gd name="connsiteX9" fmla="*/ 3398039 w 3398039"/>
              <a:gd name="connsiteY9" fmla="*/ 2186715 h 4439567"/>
              <a:gd name="connsiteX10" fmla="*/ 3398039 w 3398039"/>
              <a:gd name="connsiteY10" fmla="*/ 2737859 h 4439567"/>
              <a:gd name="connsiteX11" fmla="*/ 3398039 w 3398039"/>
              <a:gd name="connsiteY11" fmla="*/ 3289003 h 4439567"/>
              <a:gd name="connsiteX12" fmla="*/ 3398039 w 3398039"/>
              <a:gd name="connsiteY12" fmla="*/ 3873216 h 4439567"/>
              <a:gd name="connsiteX13" fmla="*/ 2831688 w 3398039"/>
              <a:gd name="connsiteY13" fmla="*/ 4439567 h 4439567"/>
              <a:gd name="connsiteX14" fmla="*/ 2265354 w 3398039"/>
              <a:gd name="connsiteY14" fmla="*/ 4439567 h 4439567"/>
              <a:gd name="connsiteX15" fmla="*/ 1699020 w 3398039"/>
              <a:gd name="connsiteY15" fmla="*/ 4439567 h 4439567"/>
              <a:gd name="connsiteX16" fmla="*/ 1087379 w 3398039"/>
              <a:gd name="connsiteY16" fmla="*/ 4439567 h 4439567"/>
              <a:gd name="connsiteX17" fmla="*/ 566351 w 3398039"/>
              <a:gd name="connsiteY17" fmla="*/ 4439567 h 4439567"/>
              <a:gd name="connsiteX18" fmla="*/ 0 w 3398039"/>
              <a:gd name="connsiteY18" fmla="*/ 3873216 h 4439567"/>
              <a:gd name="connsiteX19" fmla="*/ 0 w 3398039"/>
              <a:gd name="connsiteY19" fmla="*/ 3388209 h 4439567"/>
              <a:gd name="connsiteX20" fmla="*/ 0 w 3398039"/>
              <a:gd name="connsiteY20" fmla="*/ 2837065 h 4439567"/>
              <a:gd name="connsiteX21" fmla="*/ 0 w 3398039"/>
              <a:gd name="connsiteY21" fmla="*/ 2352058 h 4439567"/>
              <a:gd name="connsiteX22" fmla="*/ 0 w 3398039"/>
              <a:gd name="connsiteY22" fmla="*/ 1800914 h 4439567"/>
              <a:gd name="connsiteX23" fmla="*/ 0 w 3398039"/>
              <a:gd name="connsiteY23" fmla="*/ 1348976 h 4439567"/>
              <a:gd name="connsiteX24" fmla="*/ 0 w 3398039"/>
              <a:gd name="connsiteY24" fmla="*/ 566351 h 4439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398039" h="4439567" extrusionOk="0">
                <a:moveTo>
                  <a:pt x="0" y="566351"/>
                </a:moveTo>
                <a:cubicBezTo>
                  <a:pt x="-76067" y="206644"/>
                  <a:pt x="231372" y="8329"/>
                  <a:pt x="566351" y="0"/>
                </a:cubicBezTo>
                <a:cubicBezTo>
                  <a:pt x="833844" y="-49535"/>
                  <a:pt x="953828" y="12370"/>
                  <a:pt x="1177992" y="0"/>
                </a:cubicBezTo>
                <a:cubicBezTo>
                  <a:pt x="1402156" y="-12370"/>
                  <a:pt x="1536539" y="227"/>
                  <a:pt x="1721673" y="0"/>
                </a:cubicBezTo>
                <a:cubicBezTo>
                  <a:pt x="1906807" y="-227"/>
                  <a:pt x="2042981" y="58393"/>
                  <a:pt x="2242700" y="0"/>
                </a:cubicBezTo>
                <a:cubicBezTo>
                  <a:pt x="2442419" y="-58393"/>
                  <a:pt x="2646582" y="42609"/>
                  <a:pt x="2831688" y="0"/>
                </a:cubicBezTo>
                <a:cubicBezTo>
                  <a:pt x="3168158" y="-48740"/>
                  <a:pt x="3377527" y="250423"/>
                  <a:pt x="3398039" y="566351"/>
                </a:cubicBezTo>
                <a:cubicBezTo>
                  <a:pt x="3401742" y="790470"/>
                  <a:pt x="3337830" y="917709"/>
                  <a:pt x="3398039" y="1117495"/>
                </a:cubicBezTo>
                <a:cubicBezTo>
                  <a:pt x="3458248" y="1317281"/>
                  <a:pt x="3340064" y="1594357"/>
                  <a:pt x="3398039" y="1734777"/>
                </a:cubicBezTo>
                <a:cubicBezTo>
                  <a:pt x="3456014" y="1875197"/>
                  <a:pt x="3350133" y="1977297"/>
                  <a:pt x="3398039" y="2186715"/>
                </a:cubicBezTo>
                <a:cubicBezTo>
                  <a:pt x="3445945" y="2396133"/>
                  <a:pt x="3394383" y="2582143"/>
                  <a:pt x="3398039" y="2737859"/>
                </a:cubicBezTo>
                <a:cubicBezTo>
                  <a:pt x="3401695" y="2893575"/>
                  <a:pt x="3351725" y="3036007"/>
                  <a:pt x="3398039" y="3289003"/>
                </a:cubicBezTo>
                <a:cubicBezTo>
                  <a:pt x="3444353" y="3541999"/>
                  <a:pt x="3345411" y="3709151"/>
                  <a:pt x="3398039" y="3873216"/>
                </a:cubicBezTo>
                <a:cubicBezTo>
                  <a:pt x="3406096" y="4195872"/>
                  <a:pt x="3153123" y="4431996"/>
                  <a:pt x="2831688" y="4439567"/>
                </a:cubicBezTo>
                <a:cubicBezTo>
                  <a:pt x="2637195" y="4458346"/>
                  <a:pt x="2413494" y="4425147"/>
                  <a:pt x="2265354" y="4439567"/>
                </a:cubicBezTo>
                <a:cubicBezTo>
                  <a:pt x="2117214" y="4453987"/>
                  <a:pt x="1847594" y="4380829"/>
                  <a:pt x="1699020" y="4439567"/>
                </a:cubicBezTo>
                <a:cubicBezTo>
                  <a:pt x="1550446" y="4498305"/>
                  <a:pt x="1286219" y="4413214"/>
                  <a:pt x="1087379" y="4439567"/>
                </a:cubicBezTo>
                <a:cubicBezTo>
                  <a:pt x="888539" y="4465920"/>
                  <a:pt x="811548" y="4381863"/>
                  <a:pt x="566351" y="4439567"/>
                </a:cubicBezTo>
                <a:cubicBezTo>
                  <a:pt x="224116" y="4492221"/>
                  <a:pt x="24832" y="4204455"/>
                  <a:pt x="0" y="3873216"/>
                </a:cubicBezTo>
                <a:cubicBezTo>
                  <a:pt x="-39502" y="3705931"/>
                  <a:pt x="51549" y="3570122"/>
                  <a:pt x="0" y="3388209"/>
                </a:cubicBezTo>
                <a:cubicBezTo>
                  <a:pt x="-51549" y="3206296"/>
                  <a:pt x="29796" y="2983906"/>
                  <a:pt x="0" y="2837065"/>
                </a:cubicBezTo>
                <a:cubicBezTo>
                  <a:pt x="-29796" y="2690224"/>
                  <a:pt x="49643" y="2488496"/>
                  <a:pt x="0" y="2352058"/>
                </a:cubicBezTo>
                <a:cubicBezTo>
                  <a:pt x="-49643" y="2215620"/>
                  <a:pt x="26560" y="2025012"/>
                  <a:pt x="0" y="1800914"/>
                </a:cubicBezTo>
                <a:cubicBezTo>
                  <a:pt x="-26560" y="1576816"/>
                  <a:pt x="32594" y="1558009"/>
                  <a:pt x="0" y="1348976"/>
                </a:cubicBezTo>
                <a:cubicBezTo>
                  <a:pt x="-32594" y="1139943"/>
                  <a:pt x="78000" y="854396"/>
                  <a:pt x="0" y="566351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9527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Template Specs are the key piece of the puzz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Takes proven coding practices to continuously deliver infrastructure, and software running on it rapidly and at scale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0AAB136-8414-6A21-03A5-A9548743C734}"/>
              </a:ext>
            </a:extLst>
          </p:cNvPr>
          <p:cNvSpPr txBox="1">
            <a:spLocks/>
          </p:cNvSpPr>
          <p:nvPr/>
        </p:nvSpPr>
        <p:spPr>
          <a:xfrm>
            <a:off x="1107687" y="4644482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Pros</a:t>
            </a:r>
          </a:p>
          <a:p>
            <a:pPr>
              <a:buFontTx/>
              <a:buChar char="-"/>
            </a:pPr>
            <a:endParaRPr lang="en-US" sz="2000" dirty="0"/>
          </a:p>
          <a:p>
            <a:pPr>
              <a:buFontTx/>
              <a:buChar char="-"/>
            </a:pPr>
            <a:r>
              <a:rPr lang="en-US" sz="2000" dirty="0"/>
              <a:t>Triggerable from other systems (UX)</a:t>
            </a:r>
          </a:p>
          <a:p>
            <a:pPr>
              <a:buFontTx/>
              <a:buChar char="-"/>
            </a:pPr>
            <a:endParaRPr lang="en-US" sz="2000" dirty="0"/>
          </a:p>
          <a:p>
            <a:pPr>
              <a:buFontTx/>
              <a:buChar char="-"/>
            </a:pPr>
            <a:endParaRPr lang="en-US" sz="200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EAB7573-B6B5-D04C-1A8F-E527D8F51F82}"/>
              </a:ext>
            </a:extLst>
          </p:cNvPr>
          <p:cNvSpPr txBox="1">
            <a:spLocks/>
          </p:cNvSpPr>
          <p:nvPr/>
        </p:nvSpPr>
        <p:spPr>
          <a:xfrm>
            <a:off x="8184243" y="4646341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Cons</a:t>
            </a:r>
          </a:p>
          <a:p>
            <a:pPr>
              <a:buFontTx/>
              <a:buChar char="-"/>
            </a:pPr>
            <a:r>
              <a:rPr lang="en-US" sz="2000" dirty="0"/>
              <a:t>Sub-optimal UX</a:t>
            </a:r>
          </a:p>
          <a:p>
            <a:pPr>
              <a:buFontTx/>
              <a:buChar char="-"/>
            </a:pPr>
            <a:r>
              <a:rPr lang="en-US" sz="2000" dirty="0"/>
              <a:t>Input errors</a:t>
            </a:r>
          </a:p>
          <a:p>
            <a:pPr>
              <a:buFontTx/>
              <a:buChar char="-"/>
            </a:pPr>
            <a:r>
              <a:rPr lang="en-US" sz="2000" dirty="0"/>
              <a:t>No change history</a:t>
            </a:r>
          </a:p>
          <a:p>
            <a:pPr>
              <a:buFontTx/>
              <a:buChar char="-"/>
            </a:pPr>
            <a:r>
              <a:rPr lang="en-US" sz="2000" dirty="0"/>
              <a:t>Single deployment identity masks the actor in azu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37035" y="2648860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2400" y="2447123"/>
            <a:ext cx="1963754" cy="196375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1F45828B-8F5C-FF73-3C4B-A998B8DAC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5965" y="2364959"/>
            <a:ext cx="1064041" cy="1064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037AAB4F-B00B-7F7E-8EB1-FE647FD652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619" y="2368998"/>
            <a:ext cx="809625" cy="933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3478140-8BE6-5525-DF07-9358650A627B}"/>
              </a:ext>
            </a:extLst>
          </p:cNvPr>
          <p:cNvSpPr/>
          <p:nvPr/>
        </p:nvSpPr>
        <p:spPr>
          <a:xfrm>
            <a:off x="4360333" y="2172900"/>
            <a:ext cx="3398039" cy="4439567"/>
          </a:xfrm>
          <a:custGeom>
            <a:avLst/>
            <a:gdLst>
              <a:gd name="connsiteX0" fmla="*/ 0 w 3398039"/>
              <a:gd name="connsiteY0" fmla="*/ 566351 h 4439567"/>
              <a:gd name="connsiteX1" fmla="*/ 566351 w 3398039"/>
              <a:gd name="connsiteY1" fmla="*/ 0 h 4439567"/>
              <a:gd name="connsiteX2" fmla="*/ 1177992 w 3398039"/>
              <a:gd name="connsiteY2" fmla="*/ 0 h 4439567"/>
              <a:gd name="connsiteX3" fmla="*/ 1721673 w 3398039"/>
              <a:gd name="connsiteY3" fmla="*/ 0 h 4439567"/>
              <a:gd name="connsiteX4" fmla="*/ 2242700 w 3398039"/>
              <a:gd name="connsiteY4" fmla="*/ 0 h 4439567"/>
              <a:gd name="connsiteX5" fmla="*/ 2831688 w 3398039"/>
              <a:gd name="connsiteY5" fmla="*/ 0 h 4439567"/>
              <a:gd name="connsiteX6" fmla="*/ 3398039 w 3398039"/>
              <a:gd name="connsiteY6" fmla="*/ 566351 h 4439567"/>
              <a:gd name="connsiteX7" fmla="*/ 3398039 w 3398039"/>
              <a:gd name="connsiteY7" fmla="*/ 1117495 h 4439567"/>
              <a:gd name="connsiteX8" fmla="*/ 3398039 w 3398039"/>
              <a:gd name="connsiteY8" fmla="*/ 1734777 h 4439567"/>
              <a:gd name="connsiteX9" fmla="*/ 3398039 w 3398039"/>
              <a:gd name="connsiteY9" fmla="*/ 2186715 h 4439567"/>
              <a:gd name="connsiteX10" fmla="*/ 3398039 w 3398039"/>
              <a:gd name="connsiteY10" fmla="*/ 2737859 h 4439567"/>
              <a:gd name="connsiteX11" fmla="*/ 3398039 w 3398039"/>
              <a:gd name="connsiteY11" fmla="*/ 3289003 h 4439567"/>
              <a:gd name="connsiteX12" fmla="*/ 3398039 w 3398039"/>
              <a:gd name="connsiteY12" fmla="*/ 3873216 h 4439567"/>
              <a:gd name="connsiteX13" fmla="*/ 2831688 w 3398039"/>
              <a:gd name="connsiteY13" fmla="*/ 4439567 h 4439567"/>
              <a:gd name="connsiteX14" fmla="*/ 2265354 w 3398039"/>
              <a:gd name="connsiteY14" fmla="*/ 4439567 h 4439567"/>
              <a:gd name="connsiteX15" fmla="*/ 1699020 w 3398039"/>
              <a:gd name="connsiteY15" fmla="*/ 4439567 h 4439567"/>
              <a:gd name="connsiteX16" fmla="*/ 1087379 w 3398039"/>
              <a:gd name="connsiteY16" fmla="*/ 4439567 h 4439567"/>
              <a:gd name="connsiteX17" fmla="*/ 566351 w 3398039"/>
              <a:gd name="connsiteY17" fmla="*/ 4439567 h 4439567"/>
              <a:gd name="connsiteX18" fmla="*/ 0 w 3398039"/>
              <a:gd name="connsiteY18" fmla="*/ 3873216 h 4439567"/>
              <a:gd name="connsiteX19" fmla="*/ 0 w 3398039"/>
              <a:gd name="connsiteY19" fmla="*/ 3388209 h 4439567"/>
              <a:gd name="connsiteX20" fmla="*/ 0 w 3398039"/>
              <a:gd name="connsiteY20" fmla="*/ 2837065 h 4439567"/>
              <a:gd name="connsiteX21" fmla="*/ 0 w 3398039"/>
              <a:gd name="connsiteY21" fmla="*/ 2352058 h 4439567"/>
              <a:gd name="connsiteX22" fmla="*/ 0 w 3398039"/>
              <a:gd name="connsiteY22" fmla="*/ 1800914 h 4439567"/>
              <a:gd name="connsiteX23" fmla="*/ 0 w 3398039"/>
              <a:gd name="connsiteY23" fmla="*/ 1348976 h 4439567"/>
              <a:gd name="connsiteX24" fmla="*/ 0 w 3398039"/>
              <a:gd name="connsiteY24" fmla="*/ 566351 h 4439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398039" h="4439567" extrusionOk="0">
                <a:moveTo>
                  <a:pt x="0" y="566351"/>
                </a:moveTo>
                <a:cubicBezTo>
                  <a:pt x="-76067" y="206644"/>
                  <a:pt x="231372" y="8329"/>
                  <a:pt x="566351" y="0"/>
                </a:cubicBezTo>
                <a:cubicBezTo>
                  <a:pt x="833844" y="-49535"/>
                  <a:pt x="953828" y="12370"/>
                  <a:pt x="1177992" y="0"/>
                </a:cubicBezTo>
                <a:cubicBezTo>
                  <a:pt x="1402156" y="-12370"/>
                  <a:pt x="1536539" y="227"/>
                  <a:pt x="1721673" y="0"/>
                </a:cubicBezTo>
                <a:cubicBezTo>
                  <a:pt x="1906807" y="-227"/>
                  <a:pt x="2042981" y="58393"/>
                  <a:pt x="2242700" y="0"/>
                </a:cubicBezTo>
                <a:cubicBezTo>
                  <a:pt x="2442419" y="-58393"/>
                  <a:pt x="2646582" y="42609"/>
                  <a:pt x="2831688" y="0"/>
                </a:cubicBezTo>
                <a:cubicBezTo>
                  <a:pt x="3168158" y="-48740"/>
                  <a:pt x="3377527" y="250423"/>
                  <a:pt x="3398039" y="566351"/>
                </a:cubicBezTo>
                <a:cubicBezTo>
                  <a:pt x="3401742" y="790470"/>
                  <a:pt x="3337830" y="917709"/>
                  <a:pt x="3398039" y="1117495"/>
                </a:cubicBezTo>
                <a:cubicBezTo>
                  <a:pt x="3458248" y="1317281"/>
                  <a:pt x="3340064" y="1594357"/>
                  <a:pt x="3398039" y="1734777"/>
                </a:cubicBezTo>
                <a:cubicBezTo>
                  <a:pt x="3456014" y="1875197"/>
                  <a:pt x="3350133" y="1977297"/>
                  <a:pt x="3398039" y="2186715"/>
                </a:cubicBezTo>
                <a:cubicBezTo>
                  <a:pt x="3445945" y="2396133"/>
                  <a:pt x="3394383" y="2582143"/>
                  <a:pt x="3398039" y="2737859"/>
                </a:cubicBezTo>
                <a:cubicBezTo>
                  <a:pt x="3401695" y="2893575"/>
                  <a:pt x="3351725" y="3036007"/>
                  <a:pt x="3398039" y="3289003"/>
                </a:cubicBezTo>
                <a:cubicBezTo>
                  <a:pt x="3444353" y="3541999"/>
                  <a:pt x="3345411" y="3709151"/>
                  <a:pt x="3398039" y="3873216"/>
                </a:cubicBezTo>
                <a:cubicBezTo>
                  <a:pt x="3406096" y="4195872"/>
                  <a:pt x="3153123" y="4431996"/>
                  <a:pt x="2831688" y="4439567"/>
                </a:cubicBezTo>
                <a:cubicBezTo>
                  <a:pt x="2637195" y="4458346"/>
                  <a:pt x="2413494" y="4425147"/>
                  <a:pt x="2265354" y="4439567"/>
                </a:cubicBezTo>
                <a:cubicBezTo>
                  <a:pt x="2117214" y="4453987"/>
                  <a:pt x="1847594" y="4380829"/>
                  <a:pt x="1699020" y="4439567"/>
                </a:cubicBezTo>
                <a:cubicBezTo>
                  <a:pt x="1550446" y="4498305"/>
                  <a:pt x="1286219" y="4413214"/>
                  <a:pt x="1087379" y="4439567"/>
                </a:cubicBezTo>
                <a:cubicBezTo>
                  <a:pt x="888539" y="4465920"/>
                  <a:pt x="811548" y="4381863"/>
                  <a:pt x="566351" y="4439567"/>
                </a:cubicBezTo>
                <a:cubicBezTo>
                  <a:pt x="224116" y="4492221"/>
                  <a:pt x="24832" y="4204455"/>
                  <a:pt x="0" y="3873216"/>
                </a:cubicBezTo>
                <a:cubicBezTo>
                  <a:pt x="-39502" y="3705931"/>
                  <a:pt x="51549" y="3570122"/>
                  <a:pt x="0" y="3388209"/>
                </a:cubicBezTo>
                <a:cubicBezTo>
                  <a:pt x="-51549" y="3206296"/>
                  <a:pt x="29796" y="2983906"/>
                  <a:pt x="0" y="2837065"/>
                </a:cubicBezTo>
                <a:cubicBezTo>
                  <a:pt x="-29796" y="2690224"/>
                  <a:pt x="49643" y="2488496"/>
                  <a:pt x="0" y="2352058"/>
                </a:cubicBezTo>
                <a:cubicBezTo>
                  <a:pt x="-49643" y="2215620"/>
                  <a:pt x="26560" y="2025012"/>
                  <a:pt x="0" y="1800914"/>
                </a:cubicBezTo>
                <a:cubicBezTo>
                  <a:pt x="-26560" y="1576816"/>
                  <a:pt x="32594" y="1558009"/>
                  <a:pt x="0" y="1348976"/>
                </a:cubicBezTo>
                <a:cubicBezTo>
                  <a:pt x="-32594" y="1139943"/>
                  <a:pt x="78000" y="854396"/>
                  <a:pt x="0" y="566351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2996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0778EFC-CC57-4EF6-89FF-014E742142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0778EFC-CC57-4EF6-89FF-014E742142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ángulo 6175">
            <a:extLst>
              <a:ext uri="{FF2B5EF4-FFF2-40B4-BE49-F238E27FC236}">
                <a16:creationId xmlns:a16="http://schemas.microsoft.com/office/drawing/2014/main" id="{86A51F14-CEC0-4873-B851-90AD5CCD0617}"/>
              </a:ext>
            </a:extLst>
          </p:cNvPr>
          <p:cNvSpPr/>
          <p:nvPr/>
        </p:nvSpPr>
        <p:spPr>
          <a:xfrm>
            <a:off x="7913" y="4500462"/>
            <a:ext cx="12214702" cy="2387600"/>
          </a:xfrm>
          <a:prstGeom prst="rect">
            <a:avLst/>
          </a:pr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049CEE6A-F0A8-4DFA-9341-6025BABA637D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6FF0B403-FADC-424A-A227-59D6B88F2456}"/>
              </a:ext>
            </a:extLst>
          </p:cNvPr>
          <p:cNvSpPr/>
          <p:nvPr/>
        </p:nvSpPr>
        <p:spPr>
          <a:xfrm>
            <a:off x="669963" y="1204256"/>
            <a:ext cx="6833921" cy="4449489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B2A14CA-B27E-4A65-85F3-621B5BA14675}"/>
              </a:ext>
            </a:extLst>
          </p:cNvPr>
          <p:cNvSpPr/>
          <p:nvPr/>
        </p:nvSpPr>
        <p:spPr>
          <a:xfrm>
            <a:off x="1104477" y="0"/>
            <a:ext cx="1175537" cy="1385657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F1280CC-AF01-4FA6-9B49-8F44EB574ACE}"/>
              </a:ext>
            </a:extLst>
          </p:cNvPr>
          <p:cNvSpPr/>
          <p:nvPr/>
        </p:nvSpPr>
        <p:spPr>
          <a:xfrm>
            <a:off x="1104477" y="769023"/>
            <a:ext cx="1175537" cy="1175537"/>
          </a:xfrm>
          <a:prstGeom prst="ellipse">
            <a:avLst/>
          </a:prstGeom>
          <a:solidFill>
            <a:srgbClr val="D0101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EF99D574-3FCD-4173-937D-0FA446AEB9D2}"/>
              </a:ext>
            </a:extLst>
          </p:cNvPr>
          <p:cNvSpPr/>
          <p:nvPr/>
        </p:nvSpPr>
        <p:spPr>
          <a:xfrm>
            <a:off x="1324575" y="991834"/>
            <a:ext cx="729915" cy="7299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任意多边形: 形状 16">
            <a:extLst>
              <a:ext uri="{FF2B5EF4-FFF2-40B4-BE49-F238E27FC236}">
                <a16:creationId xmlns:a16="http://schemas.microsoft.com/office/drawing/2014/main" id="{CD17D5EF-C3CA-430D-8D78-9B7A4A92E88A}"/>
              </a:ext>
            </a:extLst>
          </p:cNvPr>
          <p:cNvSpPr/>
          <p:nvPr/>
        </p:nvSpPr>
        <p:spPr>
          <a:xfrm rot="16200000">
            <a:off x="807732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任意多边形: 形状 16">
            <a:extLst>
              <a:ext uri="{FF2B5EF4-FFF2-40B4-BE49-F238E27FC236}">
                <a16:creationId xmlns:a16="http://schemas.microsoft.com/office/drawing/2014/main" id="{CC5943E8-7862-4DAC-87C4-7F35D6FBC9CD}"/>
              </a:ext>
            </a:extLst>
          </p:cNvPr>
          <p:cNvSpPr/>
          <p:nvPr/>
        </p:nvSpPr>
        <p:spPr>
          <a:xfrm rot="16200000">
            <a:off x="807732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Rectángulo 6175">
            <a:extLst>
              <a:ext uri="{FF2B5EF4-FFF2-40B4-BE49-F238E27FC236}">
                <a16:creationId xmlns:a16="http://schemas.microsoft.com/office/drawing/2014/main" id="{8B9CA6E7-7271-4C1A-9106-2069F65592DD}"/>
              </a:ext>
            </a:extLst>
          </p:cNvPr>
          <p:cNvSpPr/>
          <p:nvPr/>
        </p:nvSpPr>
        <p:spPr>
          <a:xfrm>
            <a:off x="9681028" y="0"/>
            <a:ext cx="2533673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ángulo 6175">
            <a:extLst>
              <a:ext uri="{FF2B5EF4-FFF2-40B4-BE49-F238E27FC236}">
                <a16:creationId xmlns:a16="http://schemas.microsoft.com/office/drawing/2014/main" id="{63057CCC-8D68-4B3B-A6A3-B3A9F797FE6D}"/>
              </a:ext>
            </a:extLst>
          </p:cNvPr>
          <p:cNvSpPr/>
          <p:nvPr/>
        </p:nvSpPr>
        <p:spPr>
          <a:xfrm>
            <a:off x="11829143" y="0"/>
            <a:ext cx="385557" cy="6858000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BFC38C69-061C-4D96-8765-E5AE867E3A82}"/>
              </a:ext>
            </a:extLst>
          </p:cNvPr>
          <p:cNvSpPr/>
          <p:nvPr/>
        </p:nvSpPr>
        <p:spPr>
          <a:xfrm rot="16200000">
            <a:off x="10254466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16">
            <a:extLst>
              <a:ext uri="{FF2B5EF4-FFF2-40B4-BE49-F238E27FC236}">
                <a16:creationId xmlns:a16="http://schemas.microsoft.com/office/drawing/2014/main" id="{1FE673F1-E8EA-4A14-BD79-3511A9C956BC}"/>
              </a:ext>
            </a:extLst>
          </p:cNvPr>
          <p:cNvSpPr/>
          <p:nvPr/>
        </p:nvSpPr>
        <p:spPr>
          <a:xfrm rot="16200000">
            <a:off x="10254466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69D15F79-29F9-45CC-9D3C-E64A8C4AE0FA}"/>
              </a:ext>
            </a:extLst>
          </p:cNvPr>
          <p:cNvSpPr/>
          <p:nvPr/>
        </p:nvSpPr>
        <p:spPr>
          <a:xfrm>
            <a:off x="6666889" y="1204256"/>
            <a:ext cx="5547811" cy="4449489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A1F34D-EB98-4CAD-A1DE-7AC573B10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613" y="2184696"/>
            <a:ext cx="4303725" cy="741568"/>
          </a:xfrm>
        </p:spPr>
        <p:txBody>
          <a:bodyPr lIns="0" rIns="0">
            <a:normAutofit fontScale="90000"/>
          </a:bodyPr>
          <a:lstStyle/>
          <a:p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 Template Spec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0C835E6-5275-478D-B06E-63B529F28218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8EDDE3A-9B37-43A6-8AC5-022DDD0AA58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0B669C6-75C7-488F-90E7-B0037991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53" name="Picture 52" descr="Background pattern&#10;&#10;Description automatically generated">
            <a:extLst>
              <a:ext uri="{FF2B5EF4-FFF2-40B4-BE49-F238E27FC236}">
                <a16:creationId xmlns:a16="http://schemas.microsoft.com/office/drawing/2014/main" id="{E1377084-21E0-42A7-B144-A69CF5A6D83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92413" y="1385657"/>
            <a:ext cx="5322288" cy="4021639"/>
          </a:xfrm>
          <a:custGeom>
            <a:avLst/>
            <a:gdLst>
              <a:gd name="connsiteX0" fmla="*/ 655598 w 5978515"/>
              <a:gd name="connsiteY0" fmla="*/ 0 h 4021639"/>
              <a:gd name="connsiteX1" fmla="*/ 5978515 w 5978515"/>
              <a:gd name="connsiteY1" fmla="*/ 0 h 4021639"/>
              <a:gd name="connsiteX2" fmla="*/ 5978515 w 5978515"/>
              <a:gd name="connsiteY2" fmla="*/ 4021639 h 4021639"/>
              <a:gd name="connsiteX3" fmla="*/ 655598 w 5978515"/>
              <a:gd name="connsiteY3" fmla="*/ 4021639 h 4021639"/>
              <a:gd name="connsiteX4" fmla="*/ 0 w 5978515"/>
              <a:gd name="connsiteY4" fmla="*/ 3351353 h 4021639"/>
              <a:gd name="connsiteX5" fmla="*/ 0 w 5978515"/>
              <a:gd name="connsiteY5" fmla="*/ 670286 h 4021639"/>
              <a:gd name="connsiteX6" fmla="*/ 655598 w 5978515"/>
              <a:gd name="connsiteY6" fmla="*/ 0 h 4021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78515" h="4021639">
                <a:moveTo>
                  <a:pt x="655598" y="0"/>
                </a:moveTo>
                <a:lnTo>
                  <a:pt x="5978515" y="0"/>
                </a:lnTo>
                <a:lnTo>
                  <a:pt x="5978515" y="4021639"/>
                </a:lnTo>
                <a:lnTo>
                  <a:pt x="655598" y="4021639"/>
                </a:lnTo>
                <a:cubicBezTo>
                  <a:pt x="293521" y="4021639"/>
                  <a:pt x="0" y="3721542"/>
                  <a:pt x="0" y="3351353"/>
                </a:cubicBezTo>
                <a:lnTo>
                  <a:pt x="0" y="670286"/>
                </a:lnTo>
                <a:cubicBezTo>
                  <a:pt x="0" y="300098"/>
                  <a:pt x="293521" y="0"/>
                  <a:pt x="655598" y="0"/>
                </a:cubicBezTo>
                <a:close/>
              </a:path>
            </a:pathLst>
          </a:cu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09971475-858B-487D-8875-A846C5AC2D16}"/>
              </a:ext>
            </a:extLst>
          </p:cNvPr>
          <p:cNvGrpSpPr/>
          <p:nvPr/>
        </p:nvGrpSpPr>
        <p:grpSpPr>
          <a:xfrm>
            <a:off x="1495252" y="1172799"/>
            <a:ext cx="388560" cy="367985"/>
            <a:chOff x="2805113" y="2247901"/>
            <a:chExt cx="779462" cy="738188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8" name="Freeform 78">
              <a:extLst>
                <a:ext uri="{FF2B5EF4-FFF2-40B4-BE49-F238E27FC236}">
                  <a16:creationId xmlns:a16="http://schemas.microsoft.com/office/drawing/2014/main" id="{B7664ACB-8C2A-436E-89EA-05BADF299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79">
              <a:extLst>
                <a:ext uri="{FF2B5EF4-FFF2-40B4-BE49-F238E27FC236}">
                  <a16:creationId xmlns:a16="http://schemas.microsoft.com/office/drawing/2014/main" id="{D93500A6-717D-481E-8FE5-C94376441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80">
              <a:extLst>
                <a:ext uri="{FF2B5EF4-FFF2-40B4-BE49-F238E27FC236}">
                  <a16:creationId xmlns:a16="http://schemas.microsoft.com/office/drawing/2014/main" id="{F83B5C6C-2A4B-4C64-BA1F-7B4883CC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81">
              <a:extLst>
                <a:ext uri="{FF2B5EF4-FFF2-40B4-BE49-F238E27FC236}">
                  <a16:creationId xmlns:a16="http://schemas.microsoft.com/office/drawing/2014/main" id="{05AD84B9-7AA3-44B9-B394-B0D64F448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82">
              <a:extLst>
                <a:ext uri="{FF2B5EF4-FFF2-40B4-BE49-F238E27FC236}">
                  <a16:creationId xmlns:a16="http://schemas.microsoft.com/office/drawing/2014/main" id="{8CDBE542-6281-41A8-9DEB-B4824C2CC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83">
              <a:extLst>
                <a:ext uri="{FF2B5EF4-FFF2-40B4-BE49-F238E27FC236}">
                  <a16:creationId xmlns:a16="http://schemas.microsoft.com/office/drawing/2014/main" id="{00B99341-F351-46D3-984D-438D2C390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84">
              <a:extLst>
                <a:ext uri="{FF2B5EF4-FFF2-40B4-BE49-F238E27FC236}">
                  <a16:creationId xmlns:a16="http://schemas.microsoft.com/office/drawing/2014/main" id="{355432A7-AEFA-47F1-B0A0-1345637B0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85">
              <a:extLst>
                <a:ext uri="{FF2B5EF4-FFF2-40B4-BE49-F238E27FC236}">
                  <a16:creationId xmlns:a16="http://schemas.microsoft.com/office/drawing/2014/main" id="{54DA4313-77E3-457F-8833-0662FC75B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86">
              <a:extLst>
                <a:ext uri="{FF2B5EF4-FFF2-40B4-BE49-F238E27FC236}">
                  <a16:creationId xmlns:a16="http://schemas.microsoft.com/office/drawing/2014/main" id="{614328DC-CA57-42F5-BE0C-7B5D3BB29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6EC70ED2-58A2-4F0D-AB74-2621F9D02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A6DF8AC2-542F-4D2D-8215-43A775290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89">
              <a:extLst>
                <a:ext uri="{FF2B5EF4-FFF2-40B4-BE49-F238E27FC236}">
                  <a16:creationId xmlns:a16="http://schemas.microsoft.com/office/drawing/2014/main" id="{CC3503D2-7FCA-415E-8388-238A74A3A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01381D6B-0A38-4E06-8506-A342F6A017DB}"/>
              </a:ext>
            </a:extLst>
          </p:cNvPr>
          <p:cNvSpPr txBox="1">
            <a:spLocks/>
          </p:cNvSpPr>
          <p:nvPr/>
        </p:nvSpPr>
        <p:spPr>
          <a:xfrm>
            <a:off x="1104477" y="3400111"/>
            <a:ext cx="4303725" cy="13102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b="0" dirty="0">
                <a:latin typeface="Segoe UI" panose="020B0502040204020203" pitchFamily="34" charset="0"/>
                <a:cs typeface="Segoe UI" panose="020B0502040204020203" pitchFamily="34" charset="0"/>
              </a:rPr>
              <a:t>Deployment Options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Template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User Interface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Composition</a:t>
            </a:r>
          </a:p>
        </p:txBody>
      </p:sp>
      <p:pic>
        <p:nvPicPr>
          <p:cNvPr id="6" name="Picture 5" descr="A logo with a rocket in the middle&#10;&#10;Description automatically generated">
            <a:extLst>
              <a:ext uri="{FF2B5EF4-FFF2-40B4-BE49-F238E27FC236}">
                <a16:creationId xmlns:a16="http://schemas.microsoft.com/office/drawing/2014/main" id="{9369FFAB-2683-35E8-61F5-DA2E3FC9CF1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8754" y="5712409"/>
            <a:ext cx="2037046" cy="91601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203753DF-B9CD-6766-A941-CC078E8576E8}"/>
              </a:ext>
            </a:extLst>
          </p:cNvPr>
          <p:cNvSpPr txBox="1">
            <a:spLocks/>
          </p:cNvSpPr>
          <p:nvPr/>
        </p:nvSpPr>
        <p:spPr>
          <a:xfrm>
            <a:off x="1104477" y="5151913"/>
            <a:ext cx="4303725" cy="4120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Let’s explore…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B4F0400-51F6-DEFA-BF32-6C2CE7E690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307" y="1245126"/>
            <a:ext cx="3660233" cy="4183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20630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zure Template Spec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Azure resource type for storing an ARM/Bicep template for later deployment</a:t>
            </a:r>
            <a:endParaRPr lang="en-US" sz="20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8355" y="2554365"/>
            <a:ext cx="1963754" cy="1963754"/>
          </a:xfrm>
          <a:prstGeom prst="rect">
            <a:avLst/>
          </a:prstGeom>
        </p:spPr>
      </p:pic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01208" y="4365730"/>
            <a:ext cx="2209153" cy="999892"/>
          </a:xfrm>
          <a:custGeom>
            <a:avLst/>
            <a:gdLst>
              <a:gd name="connsiteX0" fmla="*/ 0 w 2209153"/>
              <a:gd name="connsiteY0" fmla="*/ 166652 h 999892"/>
              <a:gd name="connsiteX1" fmla="*/ 166652 w 2209153"/>
              <a:gd name="connsiteY1" fmla="*/ 0 h 999892"/>
              <a:gd name="connsiteX2" fmla="*/ 829452 w 2209153"/>
              <a:gd name="connsiteY2" fmla="*/ 0 h 999892"/>
              <a:gd name="connsiteX3" fmla="*/ 1435976 w 2209153"/>
              <a:gd name="connsiteY3" fmla="*/ 0 h 999892"/>
              <a:gd name="connsiteX4" fmla="*/ 2042501 w 2209153"/>
              <a:gd name="connsiteY4" fmla="*/ 0 h 999892"/>
              <a:gd name="connsiteX5" fmla="*/ 2209153 w 2209153"/>
              <a:gd name="connsiteY5" fmla="*/ 166652 h 999892"/>
              <a:gd name="connsiteX6" fmla="*/ 2209153 w 2209153"/>
              <a:gd name="connsiteY6" fmla="*/ 833240 h 999892"/>
              <a:gd name="connsiteX7" fmla="*/ 2042501 w 2209153"/>
              <a:gd name="connsiteY7" fmla="*/ 999892 h 999892"/>
              <a:gd name="connsiteX8" fmla="*/ 1454735 w 2209153"/>
              <a:gd name="connsiteY8" fmla="*/ 999892 h 999892"/>
              <a:gd name="connsiteX9" fmla="*/ 829452 w 2209153"/>
              <a:gd name="connsiteY9" fmla="*/ 999892 h 999892"/>
              <a:gd name="connsiteX10" fmla="*/ 166652 w 2209153"/>
              <a:gd name="connsiteY10" fmla="*/ 999892 h 999892"/>
              <a:gd name="connsiteX11" fmla="*/ 0 w 2209153"/>
              <a:gd name="connsiteY11" fmla="*/ 833240 h 999892"/>
              <a:gd name="connsiteX12" fmla="*/ 0 w 2209153"/>
              <a:gd name="connsiteY12" fmla="*/ 166652 h 999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209153" h="999892" extrusionOk="0">
                <a:moveTo>
                  <a:pt x="0" y="166652"/>
                </a:moveTo>
                <a:cubicBezTo>
                  <a:pt x="-5816" y="71026"/>
                  <a:pt x="55833" y="7048"/>
                  <a:pt x="166652" y="0"/>
                </a:cubicBezTo>
                <a:cubicBezTo>
                  <a:pt x="412868" y="-29637"/>
                  <a:pt x="501886" y="14089"/>
                  <a:pt x="829452" y="0"/>
                </a:cubicBezTo>
                <a:cubicBezTo>
                  <a:pt x="1157018" y="-14089"/>
                  <a:pt x="1298998" y="-3346"/>
                  <a:pt x="1435976" y="0"/>
                </a:cubicBezTo>
                <a:cubicBezTo>
                  <a:pt x="1572954" y="3346"/>
                  <a:pt x="1875459" y="21759"/>
                  <a:pt x="2042501" y="0"/>
                </a:cubicBezTo>
                <a:cubicBezTo>
                  <a:pt x="2128385" y="-19826"/>
                  <a:pt x="2210752" y="68697"/>
                  <a:pt x="2209153" y="166652"/>
                </a:cubicBezTo>
                <a:cubicBezTo>
                  <a:pt x="2212572" y="350840"/>
                  <a:pt x="2204549" y="557198"/>
                  <a:pt x="2209153" y="833240"/>
                </a:cubicBezTo>
                <a:cubicBezTo>
                  <a:pt x="2208052" y="914776"/>
                  <a:pt x="2122198" y="1017044"/>
                  <a:pt x="2042501" y="999892"/>
                </a:cubicBezTo>
                <a:cubicBezTo>
                  <a:pt x="1814527" y="1006641"/>
                  <a:pt x="1713823" y="1009123"/>
                  <a:pt x="1454735" y="999892"/>
                </a:cubicBezTo>
                <a:cubicBezTo>
                  <a:pt x="1195647" y="990661"/>
                  <a:pt x="978441" y="1002587"/>
                  <a:pt x="829452" y="999892"/>
                </a:cubicBezTo>
                <a:cubicBezTo>
                  <a:pt x="680463" y="997197"/>
                  <a:pt x="332492" y="1030518"/>
                  <a:pt x="166652" y="999892"/>
                </a:cubicBezTo>
                <a:cubicBezTo>
                  <a:pt x="78123" y="996424"/>
                  <a:pt x="10822" y="918301"/>
                  <a:pt x="0" y="833240"/>
                </a:cubicBezTo>
                <a:cubicBezTo>
                  <a:pt x="-13238" y="514479"/>
                  <a:pt x="19208" y="483104"/>
                  <a:pt x="0" y="166652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dirty="0">
                <a:solidFill>
                  <a:schemeClr val="tx1"/>
                </a:solidFill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9120789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9974706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10828623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BA130D8-B452-933E-E783-2365E14A4B0B}"/>
              </a:ext>
            </a:extLst>
          </p:cNvPr>
          <p:cNvGrpSpPr/>
          <p:nvPr/>
        </p:nvGrpSpPr>
        <p:grpSpPr>
          <a:xfrm>
            <a:off x="8701208" y="4321032"/>
            <a:ext cx="1025861" cy="1089287"/>
            <a:chOff x="6618867" y="3226748"/>
            <a:chExt cx="1025861" cy="1089287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C88A7EA-D065-DAD9-A4B5-C03B53249F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8572" y="3226748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517C7BDF-6FB0-E93F-5851-8D3F4AF1E4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8686" y="3315374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9C2B8AE2-14DC-AD23-2919-F06DDE649FE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8867" y="3429000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0BB37216-136E-A61C-B974-E5890833BF41}"/>
              </a:ext>
            </a:extLst>
          </p:cNvPr>
          <p:cNvSpPr/>
          <p:nvPr/>
        </p:nvSpPr>
        <p:spPr>
          <a:xfrm>
            <a:off x="9964906" y="4845404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 w="381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Hub</a:t>
            </a:r>
          </a:p>
        </p:txBody>
      </p:sp>
      <p:pic>
        <p:nvPicPr>
          <p:cNvPr id="16386" name="Picture 2">
            <a:extLst>
              <a:ext uri="{FF2B5EF4-FFF2-40B4-BE49-F238E27FC236}">
                <a16:creationId xmlns:a16="http://schemas.microsoft.com/office/drawing/2014/main" id="{54088610-96F7-0299-5CFD-CE46B4331C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907" y="2432930"/>
            <a:ext cx="984667" cy="984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34DC775C-FE86-F5DC-F3D1-D5E2D253A742}"/>
              </a:ext>
            </a:extLst>
          </p:cNvPr>
          <p:cNvSpPr/>
          <p:nvPr/>
        </p:nvSpPr>
        <p:spPr>
          <a:xfrm>
            <a:off x="613071" y="2531059"/>
            <a:ext cx="3950243" cy="3401138"/>
          </a:xfrm>
          <a:custGeom>
            <a:avLst/>
            <a:gdLst>
              <a:gd name="connsiteX0" fmla="*/ 0 w 3950243"/>
              <a:gd name="connsiteY0" fmla="*/ 566868 h 3401138"/>
              <a:gd name="connsiteX1" fmla="*/ 566868 w 3950243"/>
              <a:gd name="connsiteY1" fmla="*/ 0 h 3401138"/>
              <a:gd name="connsiteX2" fmla="*/ 1186500 w 3950243"/>
              <a:gd name="connsiteY2" fmla="*/ 0 h 3401138"/>
              <a:gd name="connsiteX3" fmla="*/ 1721636 w 3950243"/>
              <a:gd name="connsiteY3" fmla="*/ 0 h 3401138"/>
              <a:gd name="connsiteX4" fmla="*/ 2228607 w 3950243"/>
              <a:gd name="connsiteY4" fmla="*/ 0 h 3401138"/>
              <a:gd name="connsiteX5" fmla="*/ 2820074 w 3950243"/>
              <a:gd name="connsiteY5" fmla="*/ 0 h 3401138"/>
              <a:gd name="connsiteX6" fmla="*/ 3383375 w 3950243"/>
              <a:gd name="connsiteY6" fmla="*/ 0 h 3401138"/>
              <a:gd name="connsiteX7" fmla="*/ 3950243 w 3950243"/>
              <a:gd name="connsiteY7" fmla="*/ 566868 h 3401138"/>
              <a:gd name="connsiteX8" fmla="*/ 3950243 w 3950243"/>
              <a:gd name="connsiteY8" fmla="*/ 1133719 h 3401138"/>
              <a:gd name="connsiteX9" fmla="*/ 3950243 w 3950243"/>
              <a:gd name="connsiteY9" fmla="*/ 1632547 h 3401138"/>
              <a:gd name="connsiteX10" fmla="*/ 3950243 w 3950243"/>
              <a:gd name="connsiteY10" fmla="*/ 2199397 h 3401138"/>
              <a:gd name="connsiteX11" fmla="*/ 3950243 w 3950243"/>
              <a:gd name="connsiteY11" fmla="*/ 2834270 h 3401138"/>
              <a:gd name="connsiteX12" fmla="*/ 3383375 w 3950243"/>
              <a:gd name="connsiteY12" fmla="*/ 3401138 h 3401138"/>
              <a:gd name="connsiteX13" fmla="*/ 2820074 w 3950243"/>
              <a:gd name="connsiteY13" fmla="*/ 3401138 h 3401138"/>
              <a:gd name="connsiteX14" fmla="*/ 2313102 w 3950243"/>
              <a:gd name="connsiteY14" fmla="*/ 3401138 h 3401138"/>
              <a:gd name="connsiteX15" fmla="*/ 1749801 w 3950243"/>
              <a:gd name="connsiteY15" fmla="*/ 3401138 h 3401138"/>
              <a:gd name="connsiteX16" fmla="*/ 1130169 w 3950243"/>
              <a:gd name="connsiteY16" fmla="*/ 3401138 h 3401138"/>
              <a:gd name="connsiteX17" fmla="*/ 566868 w 3950243"/>
              <a:gd name="connsiteY17" fmla="*/ 3401138 h 3401138"/>
              <a:gd name="connsiteX18" fmla="*/ 0 w 3950243"/>
              <a:gd name="connsiteY18" fmla="*/ 2834270 h 3401138"/>
              <a:gd name="connsiteX19" fmla="*/ 0 w 3950243"/>
              <a:gd name="connsiteY19" fmla="*/ 2312768 h 3401138"/>
              <a:gd name="connsiteX20" fmla="*/ 0 w 3950243"/>
              <a:gd name="connsiteY20" fmla="*/ 1745917 h 3401138"/>
              <a:gd name="connsiteX21" fmla="*/ 0 w 3950243"/>
              <a:gd name="connsiteY21" fmla="*/ 1224415 h 3401138"/>
              <a:gd name="connsiteX22" fmla="*/ 0 w 3950243"/>
              <a:gd name="connsiteY22" fmla="*/ 566868 h 340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50243" h="3401138" extrusionOk="0">
                <a:moveTo>
                  <a:pt x="0" y="566868"/>
                </a:moveTo>
                <a:cubicBezTo>
                  <a:pt x="-10161" y="247527"/>
                  <a:pt x="224591" y="10961"/>
                  <a:pt x="566868" y="0"/>
                </a:cubicBezTo>
                <a:cubicBezTo>
                  <a:pt x="747352" y="-461"/>
                  <a:pt x="913983" y="819"/>
                  <a:pt x="1186500" y="0"/>
                </a:cubicBezTo>
                <a:cubicBezTo>
                  <a:pt x="1459017" y="-819"/>
                  <a:pt x="1597586" y="-11433"/>
                  <a:pt x="1721636" y="0"/>
                </a:cubicBezTo>
                <a:cubicBezTo>
                  <a:pt x="1845686" y="11433"/>
                  <a:pt x="2018474" y="-23792"/>
                  <a:pt x="2228607" y="0"/>
                </a:cubicBezTo>
                <a:cubicBezTo>
                  <a:pt x="2438740" y="23792"/>
                  <a:pt x="2658505" y="11076"/>
                  <a:pt x="2820074" y="0"/>
                </a:cubicBezTo>
                <a:cubicBezTo>
                  <a:pt x="2981643" y="-11076"/>
                  <a:pt x="3220626" y="15773"/>
                  <a:pt x="3383375" y="0"/>
                </a:cubicBezTo>
                <a:cubicBezTo>
                  <a:pt x="3736664" y="-65446"/>
                  <a:pt x="3907410" y="291436"/>
                  <a:pt x="3950243" y="566868"/>
                </a:cubicBezTo>
                <a:cubicBezTo>
                  <a:pt x="3924156" y="786917"/>
                  <a:pt x="3933587" y="925958"/>
                  <a:pt x="3950243" y="1133719"/>
                </a:cubicBezTo>
                <a:cubicBezTo>
                  <a:pt x="3966899" y="1341480"/>
                  <a:pt x="3952864" y="1501939"/>
                  <a:pt x="3950243" y="1632547"/>
                </a:cubicBezTo>
                <a:cubicBezTo>
                  <a:pt x="3947622" y="1763155"/>
                  <a:pt x="3931118" y="2047385"/>
                  <a:pt x="3950243" y="2199397"/>
                </a:cubicBezTo>
                <a:cubicBezTo>
                  <a:pt x="3969369" y="2351409"/>
                  <a:pt x="3948295" y="2618066"/>
                  <a:pt x="3950243" y="2834270"/>
                </a:cubicBezTo>
                <a:cubicBezTo>
                  <a:pt x="3988033" y="3110000"/>
                  <a:pt x="3721780" y="3384803"/>
                  <a:pt x="3383375" y="3401138"/>
                </a:cubicBezTo>
                <a:cubicBezTo>
                  <a:pt x="3250224" y="3405361"/>
                  <a:pt x="3001634" y="3394571"/>
                  <a:pt x="2820074" y="3401138"/>
                </a:cubicBezTo>
                <a:cubicBezTo>
                  <a:pt x="2638514" y="3407705"/>
                  <a:pt x="2556441" y="3401035"/>
                  <a:pt x="2313102" y="3401138"/>
                </a:cubicBezTo>
                <a:cubicBezTo>
                  <a:pt x="2069763" y="3401241"/>
                  <a:pt x="1996553" y="3375595"/>
                  <a:pt x="1749801" y="3401138"/>
                </a:cubicBezTo>
                <a:cubicBezTo>
                  <a:pt x="1503049" y="3426681"/>
                  <a:pt x="1289956" y="3416195"/>
                  <a:pt x="1130169" y="3401138"/>
                </a:cubicBezTo>
                <a:cubicBezTo>
                  <a:pt x="970382" y="3386081"/>
                  <a:pt x="816758" y="3391071"/>
                  <a:pt x="566868" y="3401138"/>
                </a:cubicBezTo>
                <a:cubicBezTo>
                  <a:pt x="236104" y="3432770"/>
                  <a:pt x="6058" y="3151845"/>
                  <a:pt x="0" y="2834270"/>
                </a:cubicBezTo>
                <a:cubicBezTo>
                  <a:pt x="-13909" y="2602595"/>
                  <a:pt x="-21376" y="2523221"/>
                  <a:pt x="0" y="2312768"/>
                </a:cubicBezTo>
                <a:cubicBezTo>
                  <a:pt x="21376" y="2102315"/>
                  <a:pt x="11788" y="1978446"/>
                  <a:pt x="0" y="1745917"/>
                </a:cubicBezTo>
                <a:cubicBezTo>
                  <a:pt x="-11788" y="1513388"/>
                  <a:pt x="-10196" y="1460998"/>
                  <a:pt x="0" y="1224415"/>
                </a:cubicBezTo>
                <a:cubicBezTo>
                  <a:pt x="10196" y="987832"/>
                  <a:pt x="-20069" y="756879"/>
                  <a:pt x="0" y="566868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6136E1C-7F3A-BA3F-FC0C-C01F84635983}"/>
              </a:ext>
            </a:extLst>
          </p:cNvPr>
          <p:cNvSpPr txBox="1"/>
          <p:nvPr/>
        </p:nvSpPr>
        <p:spPr>
          <a:xfrm>
            <a:off x="637034" y="3423800"/>
            <a:ext cx="18678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</a:t>
            </a:r>
            <a:r>
              <a:rPr lang="en-US" dirty="0" err="1"/>
              <a:t>bicepModules</a:t>
            </a:r>
            <a:r>
              <a:rPr lang="en-US" dirty="0"/>
              <a:t>/…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2651B7D-662C-F793-8FDA-FCDC154CCB52}"/>
              </a:ext>
            </a:extLst>
          </p:cNvPr>
          <p:cNvSpPr txBox="1"/>
          <p:nvPr/>
        </p:nvSpPr>
        <p:spPr>
          <a:xfrm>
            <a:off x="630962" y="3919372"/>
            <a:ext cx="3925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</a:t>
            </a:r>
            <a:r>
              <a:rPr lang="en-US" dirty="0" err="1"/>
              <a:t>templateSpecs</a:t>
            </a:r>
            <a:r>
              <a:rPr lang="en-US" dirty="0"/>
              <a:t>/&lt;name&gt;/&lt;name&gt;.bicep</a:t>
            </a: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3D8DB2C7-41BF-F19B-6274-7171139B9E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7007" y="2474871"/>
            <a:ext cx="824608" cy="824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FE48ED0D-8310-E6BC-DEF4-708A608CC621}"/>
              </a:ext>
            </a:extLst>
          </p:cNvPr>
          <p:cNvSpPr/>
          <p:nvPr/>
        </p:nvSpPr>
        <p:spPr>
          <a:xfrm>
            <a:off x="5010637" y="2531059"/>
            <a:ext cx="2479921" cy="3401138"/>
          </a:xfrm>
          <a:custGeom>
            <a:avLst/>
            <a:gdLst>
              <a:gd name="connsiteX0" fmla="*/ 0 w 2479921"/>
              <a:gd name="connsiteY0" fmla="*/ 413328 h 3401138"/>
              <a:gd name="connsiteX1" fmla="*/ 413328 w 2479921"/>
              <a:gd name="connsiteY1" fmla="*/ 0 h 3401138"/>
              <a:gd name="connsiteX2" fmla="*/ 997482 w 2479921"/>
              <a:gd name="connsiteY2" fmla="*/ 0 h 3401138"/>
              <a:gd name="connsiteX3" fmla="*/ 1532037 w 2479921"/>
              <a:gd name="connsiteY3" fmla="*/ 0 h 3401138"/>
              <a:gd name="connsiteX4" fmla="*/ 2066593 w 2479921"/>
              <a:gd name="connsiteY4" fmla="*/ 0 h 3401138"/>
              <a:gd name="connsiteX5" fmla="*/ 2479921 w 2479921"/>
              <a:gd name="connsiteY5" fmla="*/ 413328 h 3401138"/>
              <a:gd name="connsiteX6" fmla="*/ 2479921 w 2479921"/>
              <a:gd name="connsiteY6" fmla="*/ 1005459 h 3401138"/>
              <a:gd name="connsiteX7" fmla="*/ 2479921 w 2479921"/>
              <a:gd name="connsiteY7" fmla="*/ 1597590 h 3401138"/>
              <a:gd name="connsiteX8" fmla="*/ 2479921 w 2479921"/>
              <a:gd name="connsiteY8" fmla="*/ 2292700 h 3401138"/>
              <a:gd name="connsiteX9" fmla="*/ 2479921 w 2479921"/>
              <a:gd name="connsiteY9" fmla="*/ 2987810 h 3401138"/>
              <a:gd name="connsiteX10" fmla="*/ 2066593 w 2479921"/>
              <a:gd name="connsiteY10" fmla="*/ 3401138 h 3401138"/>
              <a:gd name="connsiteX11" fmla="*/ 1498972 w 2479921"/>
              <a:gd name="connsiteY11" fmla="*/ 3401138 h 3401138"/>
              <a:gd name="connsiteX12" fmla="*/ 914818 w 2479921"/>
              <a:gd name="connsiteY12" fmla="*/ 3401138 h 3401138"/>
              <a:gd name="connsiteX13" fmla="*/ 413328 w 2479921"/>
              <a:gd name="connsiteY13" fmla="*/ 3401138 h 3401138"/>
              <a:gd name="connsiteX14" fmla="*/ 0 w 2479921"/>
              <a:gd name="connsiteY14" fmla="*/ 2987810 h 3401138"/>
              <a:gd name="connsiteX15" fmla="*/ 0 w 2479921"/>
              <a:gd name="connsiteY15" fmla="*/ 2318445 h 3401138"/>
              <a:gd name="connsiteX16" fmla="*/ 0 w 2479921"/>
              <a:gd name="connsiteY16" fmla="*/ 1674824 h 3401138"/>
              <a:gd name="connsiteX17" fmla="*/ 0 w 2479921"/>
              <a:gd name="connsiteY17" fmla="*/ 1108438 h 3401138"/>
              <a:gd name="connsiteX18" fmla="*/ 0 w 2479921"/>
              <a:gd name="connsiteY18" fmla="*/ 413328 h 340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479921" h="3401138" extrusionOk="0">
                <a:moveTo>
                  <a:pt x="0" y="413328"/>
                </a:moveTo>
                <a:cubicBezTo>
                  <a:pt x="-42586" y="158785"/>
                  <a:pt x="169361" y="5889"/>
                  <a:pt x="413328" y="0"/>
                </a:cubicBezTo>
                <a:cubicBezTo>
                  <a:pt x="700796" y="20908"/>
                  <a:pt x="821384" y="-20062"/>
                  <a:pt x="997482" y="0"/>
                </a:cubicBezTo>
                <a:cubicBezTo>
                  <a:pt x="1173580" y="20062"/>
                  <a:pt x="1405573" y="-4502"/>
                  <a:pt x="1532037" y="0"/>
                </a:cubicBezTo>
                <a:cubicBezTo>
                  <a:pt x="1658501" y="4502"/>
                  <a:pt x="1904853" y="-17499"/>
                  <a:pt x="2066593" y="0"/>
                </a:cubicBezTo>
                <a:cubicBezTo>
                  <a:pt x="2292777" y="-6735"/>
                  <a:pt x="2493051" y="136464"/>
                  <a:pt x="2479921" y="413328"/>
                </a:cubicBezTo>
                <a:cubicBezTo>
                  <a:pt x="2487557" y="608156"/>
                  <a:pt x="2473129" y="752772"/>
                  <a:pt x="2479921" y="1005459"/>
                </a:cubicBezTo>
                <a:cubicBezTo>
                  <a:pt x="2486713" y="1258146"/>
                  <a:pt x="2496994" y="1452933"/>
                  <a:pt x="2479921" y="1597590"/>
                </a:cubicBezTo>
                <a:cubicBezTo>
                  <a:pt x="2462848" y="1742247"/>
                  <a:pt x="2484196" y="1971126"/>
                  <a:pt x="2479921" y="2292700"/>
                </a:cubicBezTo>
                <a:cubicBezTo>
                  <a:pt x="2475647" y="2614274"/>
                  <a:pt x="2452823" y="2685940"/>
                  <a:pt x="2479921" y="2987810"/>
                </a:cubicBezTo>
                <a:cubicBezTo>
                  <a:pt x="2425020" y="3212945"/>
                  <a:pt x="2296802" y="3395835"/>
                  <a:pt x="2066593" y="3401138"/>
                </a:cubicBezTo>
                <a:cubicBezTo>
                  <a:pt x="1842210" y="3407192"/>
                  <a:pt x="1728370" y="3392358"/>
                  <a:pt x="1498972" y="3401138"/>
                </a:cubicBezTo>
                <a:cubicBezTo>
                  <a:pt x="1269574" y="3409918"/>
                  <a:pt x="1073950" y="3410995"/>
                  <a:pt x="914818" y="3401138"/>
                </a:cubicBezTo>
                <a:cubicBezTo>
                  <a:pt x="755686" y="3391281"/>
                  <a:pt x="542302" y="3414681"/>
                  <a:pt x="413328" y="3401138"/>
                </a:cubicBezTo>
                <a:cubicBezTo>
                  <a:pt x="175064" y="3402778"/>
                  <a:pt x="-36904" y="3190622"/>
                  <a:pt x="0" y="2987810"/>
                </a:cubicBezTo>
                <a:cubicBezTo>
                  <a:pt x="-20756" y="2719592"/>
                  <a:pt x="23264" y="2639730"/>
                  <a:pt x="0" y="2318445"/>
                </a:cubicBezTo>
                <a:cubicBezTo>
                  <a:pt x="-23264" y="1997160"/>
                  <a:pt x="-26551" y="1970651"/>
                  <a:pt x="0" y="1674824"/>
                </a:cubicBezTo>
                <a:cubicBezTo>
                  <a:pt x="26551" y="1378997"/>
                  <a:pt x="-19951" y="1277372"/>
                  <a:pt x="0" y="1108438"/>
                </a:cubicBezTo>
                <a:cubicBezTo>
                  <a:pt x="19951" y="939504"/>
                  <a:pt x="26617" y="601720"/>
                  <a:pt x="0" y="413328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2F5A9E8-DD22-7D5B-235A-CA9BAB1514C5}"/>
              </a:ext>
            </a:extLst>
          </p:cNvPr>
          <p:cNvSpPr txBox="1"/>
          <p:nvPr/>
        </p:nvSpPr>
        <p:spPr>
          <a:xfrm>
            <a:off x="5097007" y="3571271"/>
            <a:ext cx="21751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pipelines/TS-</a:t>
            </a:r>
            <a:r>
              <a:rPr lang="en-US" dirty="0" err="1"/>
              <a:t>CI.yaml</a:t>
            </a:r>
            <a:endParaRPr lang="en-US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E13A1DA-7852-C14C-0C44-FEDC3426BC9B}"/>
              </a:ext>
            </a:extLst>
          </p:cNvPr>
          <p:cNvSpPr txBox="1"/>
          <p:nvPr/>
        </p:nvSpPr>
        <p:spPr>
          <a:xfrm>
            <a:off x="5097007" y="4027729"/>
            <a:ext cx="22547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pipelines/TS-</a:t>
            </a:r>
            <a:r>
              <a:rPr lang="en-US" dirty="0" err="1"/>
              <a:t>CD.yaml</a:t>
            </a:r>
            <a:endParaRPr lang="en-US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822E61F-8769-DC33-2533-3FC5B62F51F8}"/>
              </a:ext>
            </a:extLst>
          </p:cNvPr>
          <p:cNvSpPr txBox="1"/>
          <p:nvPr/>
        </p:nvSpPr>
        <p:spPr>
          <a:xfrm>
            <a:off x="5097007" y="4518119"/>
            <a:ext cx="19011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scripts/TS-CD.ps1</a:t>
            </a:r>
          </a:p>
        </p:txBody>
      </p:sp>
      <p:grpSp>
        <p:nvGrpSpPr>
          <p:cNvPr id="2057" name="Group 2056">
            <a:extLst>
              <a:ext uri="{FF2B5EF4-FFF2-40B4-BE49-F238E27FC236}">
                <a16:creationId xmlns:a16="http://schemas.microsoft.com/office/drawing/2014/main" id="{1A6D87DC-BE9E-88EA-423F-218541B67B6C}"/>
              </a:ext>
            </a:extLst>
          </p:cNvPr>
          <p:cNvGrpSpPr/>
          <p:nvPr/>
        </p:nvGrpSpPr>
        <p:grpSpPr>
          <a:xfrm>
            <a:off x="10452220" y="11685"/>
            <a:ext cx="1175537" cy="1944560"/>
            <a:chOff x="10452220" y="11685"/>
            <a:chExt cx="1175537" cy="1944560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48F7B265-C444-CEA4-70C7-617EFAC348DE}"/>
                </a:ext>
              </a:extLst>
            </p:cNvPr>
            <p:cNvSpPr/>
            <p:nvPr/>
          </p:nvSpPr>
          <p:spPr>
            <a:xfrm>
              <a:off x="10452220" y="11685"/>
              <a:ext cx="1175537" cy="1385657"/>
            </a:xfrm>
            <a:prstGeom prst="rect">
              <a:avLst/>
            </a:prstGeom>
            <a:solidFill>
              <a:srgbClr val="D01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B0B1641E-4104-29E0-E3EF-B800B1F33E35}"/>
                </a:ext>
              </a:extLst>
            </p:cNvPr>
            <p:cNvSpPr/>
            <p:nvPr/>
          </p:nvSpPr>
          <p:spPr>
            <a:xfrm>
              <a:off x="10452220" y="780708"/>
              <a:ext cx="1175537" cy="1175537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F979CCA2-A25C-CBDB-F0D0-5C203551B054}"/>
                </a:ext>
              </a:extLst>
            </p:cNvPr>
            <p:cNvSpPr/>
            <p:nvPr/>
          </p:nvSpPr>
          <p:spPr>
            <a:xfrm>
              <a:off x="10672318" y="1003519"/>
              <a:ext cx="729915" cy="7299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F5162046-BF55-16D1-C778-00B74E8C2AD9}"/>
                </a:ext>
              </a:extLst>
            </p:cNvPr>
            <p:cNvGrpSpPr/>
            <p:nvPr/>
          </p:nvGrpSpPr>
          <p:grpSpPr>
            <a:xfrm>
              <a:off x="10842995" y="1184484"/>
              <a:ext cx="388560" cy="367985"/>
              <a:chOff x="2805113" y="2247901"/>
              <a:chExt cx="779462" cy="738188"/>
            </a:xfrm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59" name="Freeform 78">
                <a:extLst>
                  <a:ext uri="{FF2B5EF4-FFF2-40B4-BE49-F238E27FC236}">
                    <a16:creationId xmlns:a16="http://schemas.microsoft.com/office/drawing/2014/main" id="{0EA7BEBA-4867-8232-BC4C-3BF44F8311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6725" y="2247901"/>
                <a:ext cx="577850" cy="738188"/>
              </a:xfrm>
              <a:custGeom>
                <a:avLst/>
                <a:gdLst>
                  <a:gd name="T0" fmla="*/ 115 w 153"/>
                  <a:gd name="T1" fmla="*/ 0 h 195"/>
                  <a:gd name="T2" fmla="*/ 6 w 153"/>
                  <a:gd name="T3" fmla="*/ 0 h 195"/>
                  <a:gd name="T4" fmla="*/ 0 w 153"/>
                  <a:gd name="T5" fmla="*/ 7 h 195"/>
                  <a:gd name="T6" fmla="*/ 0 w 153"/>
                  <a:gd name="T7" fmla="*/ 195 h 195"/>
                  <a:gd name="T8" fmla="*/ 153 w 153"/>
                  <a:gd name="T9" fmla="*/ 195 h 195"/>
                  <a:gd name="T10" fmla="*/ 153 w 153"/>
                  <a:gd name="T11" fmla="*/ 39 h 195"/>
                  <a:gd name="T12" fmla="*/ 115 w 153"/>
                  <a:gd name="T13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3" h="195">
                    <a:moveTo>
                      <a:pt x="115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153" y="195"/>
                      <a:pt x="153" y="195"/>
                      <a:pt x="153" y="195"/>
                    </a:cubicBezTo>
                    <a:cubicBezTo>
                      <a:pt x="153" y="39"/>
                      <a:pt x="153" y="39"/>
                      <a:pt x="153" y="39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0" name="Freeform 79">
                <a:extLst>
                  <a:ext uri="{FF2B5EF4-FFF2-40B4-BE49-F238E27FC236}">
                    <a16:creationId xmlns:a16="http://schemas.microsoft.com/office/drawing/2014/main" id="{539F17CE-7019-84BD-E183-4AD969F59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1700" y="2247901"/>
                <a:ext cx="142875" cy="147638"/>
              </a:xfrm>
              <a:custGeom>
                <a:avLst/>
                <a:gdLst>
                  <a:gd name="T0" fmla="*/ 0 w 90"/>
                  <a:gd name="T1" fmla="*/ 0 h 93"/>
                  <a:gd name="T2" fmla="*/ 0 w 90"/>
                  <a:gd name="T3" fmla="*/ 93 h 93"/>
                  <a:gd name="T4" fmla="*/ 90 w 90"/>
                  <a:gd name="T5" fmla="*/ 93 h 93"/>
                  <a:gd name="T6" fmla="*/ 0 w 90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93">
                    <a:moveTo>
                      <a:pt x="0" y="0"/>
                    </a:moveTo>
                    <a:lnTo>
                      <a:pt x="0" y="93"/>
                    </a:lnTo>
                    <a:lnTo>
                      <a:pt x="90" y="9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1" name="Freeform 80">
                <a:extLst>
                  <a:ext uri="{FF2B5EF4-FFF2-40B4-BE49-F238E27FC236}">
                    <a16:creationId xmlns:a16="http://schemas.microsoft.com/office/drawing/2014/main" id="{F855838B-E3CE-7BB3-502D-DE764F1866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419351"/>
                <a:ext cx="242888" cy="22225"/>
              </a:xfrm>
              <a:custGeom>
                <a:avLst/>
                <a:gdLst>
                  <a:gd name="T0" fmla="*/ 64 w 64"/>
                  <a:gd name="T1" fmla="*/ 3 h 6"/>
                  <a:gd name="T2" fmla="*/ 61 w 64"/>
                  <a:gd name="T3" fmla="*/ 6 h 6"/>
                  <a:gd name="T4" fmla="*/ 4 w 64"/>
                  <a:gd name="T5" fmla="*/ 6 h 6"/>
                  <a:gd name="T6" fmla="*/ 0 w 64"/>
                  <a:gd name="T7" fmla="*/ 3 h 6"/>
                  <a:gd name="T8" fmla="*/ 4 w 64"/>
                  <a:gd name="T9" fmla="*/ 0 h 6"/>
                  <a:gd name="T10" fmla="*/ 61 w 64"/>
                  <a:gd name="T11" fmla="*/ 0 h 6"/>
                  <a:gd name="T12" fmla="*/ 64 w 64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6">
                    <a:moveTo>
                      <a:pt x="64" y="3"/>
                    </a:moveTo>
                    <a:cubicBezTo>
                      <a:pt x="64" y="5"/>
                      <a:pt x="63" y="6"/>
                      <a:pt x="61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3" y="0"/>
                      <a:pt x="64" y="1"/>
                      <a:pt x="64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" name="Freeform 81">
                <a:extLst>
                  <a:ext uri="{FF2B5EF4-FFF2-40B4-BE49-F238E27FC236}">
                    <a16:creationId xmlns:a16="http://schemas.microsoft.com/office/drawing/2014/main" id="{E757ED09-42E8-0E89-4C5C-10FD70AF05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516188"/>
                <a:ext cx="390525" cy="23813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3" name="Freeform 82">
                <a:extLst>
                  <a:ext uri="{FF2B5EF4-FFF2-40B4-BE49-F238E27FC236}">
                    <a16:creationId xmlns:a16="http://schemas.microsoft.com/office/drawing/2014/main" id="{A4D13453-A5D5-1B39-19DC-D0D477FD23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611438"/>
                <a:ext cx="390525" cy="26988"/>
              </a:xfrm>
              <a:custGeom>
                <a:avLst/>
                <a:gdLst>
                  <a:gd name="T0" fmla="*/ 103 w 103"/>
                  <a:gd name="T1" fmla="*/ 3 h 7"/>
                  <a:gd name="T2" fmla="*/ 100 w 103"/>
                  <a:gd name="T3" fmla="*/ 7 h 7"/>
                  <a:gd name="T4" fmla="*/ 4 w 103"/>
                  <a:gd name="T5" fmla="*/ 7 h 7"/>
                  <a:gd name="T6" fmla="*/ 0 w 103"/>
                  <a:gd name="T7" fmla="*/ 3 h 7"/>
                  <a:gd name="T8" fmla="*/ 4 w 103"/>
                  <a:gd name="T9" fmla="*/ 0 h 7"/>
                  <a:gd name="T10" fmla="*/ 100 w 103"/>
                  <a:gd name="T11" fmla="*/ 0 h 7"/>
                  <a:gd name="T12" fmla="*/ 103 w 103"/>
                  <a:gd name="T13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7">
                    <a:moveTo>
                      <a:pt x="103" y="3"/>
                    </a:moveTo>
                    <a:cubicBezTo>
                      <a:pt x="103" y="5"/>
                      <a:pt x="101" y="7"/>
                      <a:pt x="100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2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48" name="Freeform 83">
                <a:extLst>
                  <a:ext uri="{FF2B5EF4-FFF2-40B4-BE49-F238E27FC236}">
                    <a16:creationId xmlns:a16="http://schemas.microsoft.com/office/drawing/2014/main" id="{F7F292A1-E8C7-CB32-1F22-0E886DDF5C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709863"/>
                <a:ext cx="390525" cy="22225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49" name="Freeform 84">
                <a:extLst>
                  <a:ext uri="{FF2B5EF4-FFF2-40B4-BE49-F238E27FC236}">
                    <a16:creationId xmlns:a16="http://schemas.microsoft.com/office/drawing/2014/main" id="{FB2B5A4B-3781-DE21-4CD1-ECEA080AB1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530225" cy="530225"/>
              </a:xfrm>
              <a:custGeom>
                <a:avLst/>
                <a:gdLst>
                  <a:gd name="T0" fmla="*/ 131 w 140"/>
                  <a:gd name="T1" fmla="*/ 90 h 140"/>
                  <a:gd name="T2" fmla="*/ 51 w 140"/>
                  <a:gd name="T3" fmla="*/ 11 h 140"/>
                  <a:gd name="T4" fmla="*/ 49 w 140"/>
                  <a:gd name="T5" fmla="*/ 9 h 140"/>
                  <a:gd name="T6" fmla="*/ 11 w 140"/>
                  <a:gd name="T7" fmla="*/ 11 h 140"/>
                  <a:gd name="T8" fmla="*/ 11 w 140"/>
                  <a:gd name="T9" fmla="*/ 11 h 140"/>
                  <a:gd name="T10" fmla="*/ 9 w 140"/>
                  <a:gd name="T11" fmla="*/ 49 h 140"/>
                  <a:gd name="T12" fmla="*/ 11 w 140"/>
                  <a:gd name="T13" fmla="*/ 52 h 140"/>
                  <a:gd name="T14" fmla="*/ 90 w 140"/>
                  <a:gd name="T15" fmla="*/ 131 h 140"/>
                  <a:gd name="T16" fmla="*/ 122 w 140"/>
                  <a:gd name="T17" fmla="*/ 140 h 140"/>
                  <a:gd name="T18" fmla="*/ 129 w 140"/>
                  <a:gd name="T19" fmla="*/ 129 h 140"/>
                  <a:gd name="T20" fmla="*/ 140 w 140"/>
                  <a:gd name="T21" fmla="*/ 122 h 140"/>
                  <a:gd name="T22" fmla="*/ 131 w 140"/>
                  <a:gd name="T23" fmla="*/ 9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0" h="140">
                    <a:moveTo>
                      <a:pt x="131" y="90"/>
                    </a:moveTo>
                    <a:cubicBezTo>
                      <a:pt x="51" y="11"/>
                      <a:pt x="51" y="11"/>
                      <a:pt x="51" y="11"/>
                    </a:cubicBezTo>
                    <a:cubicBezTo>
                      <a:pt x="51" y="10"/>
                      <a:pt x="50" y="10"/>
                      <a:pt x="49" y="9"/>
                    </a:cubicBezTo>
                    <a:cubicBezTo>
                      <a:pt x="38" y="0"/>
                      <a:pt x="22" y="0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0" y="22"/>
                      <a:pt x="0" y="38"/>
                      <a:pt x="9" y="49"/>
                    </a:cubicBezTo>
                    <a:cubicBezTo>
                      <a:pt x="9" y="50"/>
                      <a:pt x="10" y="51"/>
                      <a:pt x="11" y="52"/>
                    </a:cubicBezTo>
                    <a:cubicBezTo>
                      <a:pt x="90" y="131"/>
                      <a:pt x="90" y="131"/>
                      <a:pt x="90" y="131"/>
                    </a:cubicBezTo>
                    <a:cubicBezTo>
                      <a:pt x="122" y="140"/>
                      <a:pt x="122" y="140"/>
                      <a:pt x="122" y="140"/>
                    </a:cubicBezTo>
                    <a:cubicBezTo>
                      <a:pt x="123" y="136"/>
                      <a:pt x="125" y="132"/>
                      <a:pt x="129" y="129"/>
                    </a:cubicBezTo>
                    <a:cubicBezTo>
                      <a:pt x="132" y="126"/>
                      <a:pt x="136" y="123"/>
                      <a:pt x="140" y="122"/>
                    </a:cubicBezTo>
                    <a:lnTo>
                      <a:pt x="131" y="90"/>
                    </a:lnTo>
                    <a:close/>
                  </a:path>
                </a:pathLst>
              </a:custGeom>
              <a:solidFill>
                <a:srgbClr val="F4D0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1" name="Freeform 85">
                <a:extLst>
                  <a:ext uri="{FF2B5EF4-FFF2-40B4-BE49-F238E27FC236}">
                    <a16:creationId xmlns:a16="http://schemas.microsoft.com/office/drawing/2014/main" id="{FD9A3745-24D7-1345-57D2-778313F59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185738" cy="185738"/>
              </a:xfrm>
              <a:custGeom>
                <a:avLst/>
                <a:gdLst>
                  <a:gd name="T0" fmla="*/ 49 w 49"/>
                  <a:gd name="T1" fmla="*/ 9 h 49"/>
                  <a:gd name="T2" fmla="*/ 9 w 49"/>
                  <a:gd name="T3" fmla="*/ 49 h 49"/>
                  <a:gd name="T4" fmla="*/ 11 w 49"/>
                  <a:gd name="T5" fmla="*/ 11 h 49"/>
                  <a:gd name="T6" fmla="*/ 11 w 49"/>
                  <a:gd name="T7" fmla="*/ 11 h 49"/>
                  <a:gd name="T8" fmla="*/ 49 w 49"/>
                  <a:gd name="T9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49" y="9"/>
                    </a:moveTo>
                    <a:cubicBezTo>
                      <a:pt x="9" y="49"/>
                      <a:pt x="9" y="49"/>
                      <a:pt x="9" y="49"/>
                    </a:cubicBezTo>
                    <a:cubicBezTo>
                      <a:pt x="0" y="38"/>
                      <a:pt x="0" y="2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22" y="0"/>
                      <a:pt x="38" y="0"/>
                      <a:pt x="49" y="9"/>
                    </a:cubicBezTo>
                    <a:close/>
                  </a:path>
                </a:pathLst>
              </a:custGeom>
              <a:solidFill>
                <a:srgbClr val="F7B4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2" name="Freeform 86">
                <a:extLst>
                  <a:ext uri="{FF2B5EF4-FFF2-40B4-BE49-F238E27FC236}">
                    <a16:creationId xmlns:a16="http://schemas.microsoft.com/office/drawing/2014/main" id="{A11BAF3D-AC8D-8BDA-CD3A-5AB97407F4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7075" y="2800351"/>
                <a:ext cx="90488" cy="90488"/>
              </a:xfrm>
              <a:custGeom>
                <a:avLst/>
                <a:gdLst>
                  <a:gd name="T0" fmla="*/ 18 w 24"/>
                  <a:gd name="T1" fmla="*/ 0 h 24"/>
                  <a:gd name="T2" fmla="*/ 24 w 24"/>
                  <a:gd name="T3" fmla="*/ 21 h 24"/>
                  <a:gd name="T4" fmla="*/ 20 w 24"/>
                  <a:gd name="T5" fmla="*/ 24 h 24"/>
                  <a:gd name="T6" fmla="*/ 0 w 24"/>
                  <a:gd name="T7" fmla="*/ 18 h 24"/>
                  <a:gd name="T8" fmla="*/ 7 w 24"/>
                  <a:gd name="T9" fmla="*/ 7 h 24"/>
                  <a:gd name="T10" fmla="*/ 18 w 24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24">
                    <a:moveTo>
                      <a:pt x="18" y="0"/>
                    </a:moveTo>
                    <a:cubicBezTo>
                      <a:pt x="24" y="21"/>
                      <a:pt x="24" y="21"/>
                      <a:pt x="24" y="21"/>
                    </a:cubicBezTo>
                    <a:cubicBezTo>
                      <a:pt x="24" y="23"/>
                      <a:pt x="22" y="24"/>
                      <a:pt x="20" y="2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1" y="14"/>
                      <a:pt x="3" y="10"/>
                      <a:pt x="7" y="7"/>
                    </a:cubicBezTo>
                    <a:cubicBezTo>
                      <a:pt x="10" y="4"/>
                      <a:pt x="14" y="1"/>
                      <a:pt x="18" y="0"/>
                    </a:cubicBez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3" name="Freeform 87">
                <a:extLst>
                  <a:ext uri="{FF2B5EF4-FFF2-40B4-BE49-F238E27FC236}">
                    <a16:creationId xmlns:a16="http://schemas.microsoft.com/office/drawing/2014/main" id="{E60FC808-121D-C97D-A754-0E75EF8CC5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03476"/>
                <a:ext cx="434975" cy="427038"/>
              </a:xfrm>
              <a:custGeom>
                <a:avLst/>
                <a:gdLst>
                  <a:gd name="T0" fmla="*/ 114 w 115"/>
                  <a:gd name="T1" fmla="*/ 73 h 113"/>
                  <a:gd name="T2" fmla="*/ 41 w 115"/>
                  <a:gd name="T3" fmla="*/ 0 h 113"/>
                  <a:gd name="T4" fmla="*/ 0 w 115"/>
                  <a:gd name="T5" fmla="*/ 40 h 113"/>
                  <a:gd name="T6" fmla="*/ 0 w 115"/>
                  <a:gd name="T7" fmla="*/ 40 h 113"/>
                  <a:gd name="T8" fmla="*/ 73 w 115"/>
                  <a:gd name="T9" fmla="*/ 113 h 113"/>
                  <a:gd name="T10" fmla="*/ 73 w 115"/>
                  <a:gd name="T11" fmla="*/ 113 h 113"/>
                  <a:gd name="T12" fmla="*/ 76 w 115"/>
                  <a:gd name="T13" fmla="*/ 95 h 113"/>
                  <a:gd name="T14" fmla="*/ 94 w 115"/>
                  <a:gd name="T15" fmla="*/ 94 h 113"/>
                  <a:gd name="T16" fmla="*/ 94 w 115"/>
                  <a:gd name="T17" fmla="*/ 93 h 113"/>
                  <a:gd name="T18" fmla="*/ 94 w 115"/>
                  <a:gd name="T19" fmla="*/ 93 h 113"/>
                  <a:gd name="T20" fmla="*/ 96 w 115"/>
                  <a:gd name="T21" fmla="*/ 74 h 113"/>
                  <a:gd name="T22" fmla="*/ 114 w 115"/>
                  <a:gd name="T23" fmla="*/ 73 h 113"/>
                  <a:gd name="T24" fmla="*/ 114 w 115"/>
                  <a:gd name="T25" fmla="*/ 73 h 113"/>
                  <a:gd name="T26" fmla="*/ 114 w 115"/>
                  <a:gd name="T27" fmla="*/ 7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13">
                    <a:moveTo>
                      <a:pt x="114" y="73"/>
                    </a:moveTo>
                    <a:cubicBezTo>
                      <a:pt x="108" y="67"/>
                      <a:pt x="41" y="0"/>
                      <a:pt x="41" y="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64" y="104"/>
                      <a:pt x="73" y="113"/>
                    </a:cubicBezTo>
                    <a:cubicBezTo>
                      <a:pt x="73" y="113"/>
                      <a:pt x="73" y="113"/>
                      <a:pt x="73" y="113"/>
                    </a:cubicBezTo>
                    <a:cubicBezTo>
                      <a:pt x="70" y="108"/>
                      <a:pt x="71" y="100"/>
                      <a:pt x="76" y="95"/>
                    </a:cubicBezTo>
                    <a:cubicBezTo>
                      <a:pt x="81" y="90"/>
                      <a:pt x="89" y="90"/>
                      <a:pt x="94" y="94"/>
                    </a:cubicBezTo>
                    <a:cubicBezTo>
                      <a:pt x="94" y="94"/>
                      <a:pt x="94" y="94"/>
                      <a:pt x="94" y="93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0" y="88"/>
                      <a:pt x="90" y="80"/>
                      <a:pt x="96" y="74"/>
                    </a:cubicBezTo>
                    <a:cubicBezTo>
                      <a:pt x="101" y="69"/>
                      <a:pt x="109" y="69"/>
                      <a:pt x="114" y="73"/>
                    </a:cubicBezTo>
                    <a:cubicBezTo>
                      <a:pt x="114" y="73"/>
                      <a:pt x="114" y="73"/>
                      <a:pt x="114" y="73"/>
                    </a:cubicBezTo>
                    <a:cubicBezTo>
                      <a:pt x="115" y="73"/>
                      <a:pt x="115" y="73"/>
                      <a:pt x="114" y="73"/>
                    </a:cubicBez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4" name="Freeform 88">
                <a:extLst>
                  <a:ext uri="{FF2B5EF4-FFF2-40B4-BE49-F238E27FC236}">
                    <a16:creationId xmlns:a16="http://schemas.microsoft.com/office/drawing/2014/main" id="{80AF5BBB-3F42-8A53-68EE-B256655D65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0038" y="2373313"/>
                <a:ext cx="180975" cy="180975"/>
              </a:xfrm>
              <a:custGeom>
                <a:avLst/>
                <a:gdLst>
                  <a:gd name="T0" fmla="*/ 17 w 114"/>
                  <a:gd name="T1" fmla="*/ 114 h 114"/>
                  <a:gd name="T2" fmla="*/ 0 w 114"/>
                  <a:gd name="T3" fmla="*/ 98 h 114"/>
                  <a:gd name="T4" fmla="*/ 95 w 114"/>
                  <a:gd name="T5" fmla="*/ 0 h 114"/>
                  <a:gd name="T6" fmla="*/ 114 w 114"/>
                  <a:gd name="T7" fmla="*/ 19 h 114"/>
                  <a:gd name="T8" fmla="*/ 17 w 114"/>
                  <a:gd name="T9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14">
                    <a:moveTo>
                      <a:pt x="17" y="114"/>
                    </a:moveTo>
                    <a:lnTo>
                      <a:pt x="0" y="98"/>
                    </a:lnTo>
                    <a:lnTo>
                      <a:pt x="95" y="0"/>
                    </a:lnTo>
                    <a:lnTo>
                      <a:pt x="114" y="19"/>
                    </a:lnTo>
                    <a:lnTo>
                      <a:pt x="17" y="114"/>
                    </a:lnTo>
                    <a:close/>
                  </a:path>
                </a:pathLst>
              </a:custGeom>
              <a:solidFill>
                <a:srgbClr val="FACB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5" name="Freeform 89">
                <a:extLst>
                  <a:ext uri="{FF2B5EF4-FFF2-40B4-BE49-F238E27FC236}">
                    <a16:creationId xmlns:a16="http://schemas.microsoft.com/office/drawing/2014/main" id="{A25547B0-686A-956F-3900-14FFE4890E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79676"/>
                <a:ext cx="355600" cy="350838"/>
              </a:xfrm>
              <a:custGeom>
                <a:avLst/>
                <a:gdLst>
                  <a:gd name="T0" fmla="*/ 0 w 94"/>
                  <a:gd name="T1" fmla="*/ 20 h 93"/>
                  <a:gd name="T2" fmla="*/ 73 w 94"/>
                  <a:gd name="T3" fmla="*/ 93 h 93"/>
                  <a:gd name="T4" fmla="*/ 73 w 94"/>
                  <a:gd name="T5" fmla="*/ 93 h 93"/>
                  <a:gd name="T6" fmla="*/ 76 w 94"/>
                  <a:gd name="T7" fmla="*/ 75 h 93"/>
                  <a:gd name="T8" fmla="*/ 94 w 94"/>
                  <a:gd name="T9" fmla="*/ 74 h 93"/>
                  <a:gd name="T10" fmla="*/ 94 w 94"/>
                  <a:gd name="T11" fmla="*/ 73 h 93"/>
                  <a:gd name="T12" fmla="*/ 21 w 94"/>
                  <a:gd name="T13" fmla="*/ 0 h 93"/>
                  <a:gd name="T14" fmla="*/ 0 w 94"/>
                  <a:gd name="T15" fmla="*/ 2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4" h="93">
                    <a:moveTo>
                      <a:pt x="0" y="20"/>
                    </a:moveTo>
                    <a:cubicBezTo>
                      <a:pt x="0" y="20"/>
                      <a:pt x="64" y="84"/>
                      <a:pt x="73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0" y="88"/>
                      <a:pt x="71" y="80"/>
                      <a:pt x="76" y="75"/>
                    </a:cubicBezTo>
                    <a:cubicBezTo>
                      <a:pt x="81" y="70"/>
                      <a:pt x="89" y="70"/>
                      <a:pt x="94" y="74"/>
                    </a:cubicBezTo>
                    <a:cubicBezTo>
                      <a:pt x="94" y="74"/>
                      <a:pt x="94" y="73"/>
                      <a:pt x="94" y="73"/>
                    </a:cubicBezTo>
                    <a:cubicBezTo>
                      <a:pt x="21" y="0"/>
                      <a:pt x="21" y="0"/>
                      <a:pt x="21" y="0"/>
                    </a:cubicBez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2056" name="TextBox 2055">
              <a:extLst>
                <a:ext uri="{FF2B5EF4-FFF2-40B4-BE49-F238E27FC236}">
                  <a16:creationId xmlns:a16="http://schemas.microsoft.com/office/drawing/2014/main" id="{4E3BEE08-68F9-4676-61D9-F3EBC6C3D05C}"/>
                </a:ext>
              </a:extLst>
            </p:cNvPr>
            <p:cNvSpPr txBox="1"/>
            <p:nvPr/>
          </p:nvSpPr>
          <p:spPr>
            <a:xfrm>
              <a:off x="10461679" y="244286"/>
              <a:ext cx="114326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mo</a:t>
              </a:r>
            </a:p>
          </p:txBody>
        </p:sp>
      </p:grpSp>
      <p:sp>
        <p:nvSpPr>
          <p:cNvPr id="2058" name="Arrow: Right 2057">
            <a:extLst>
              <a:ext uri="{FF2B5EF4-FFF2-40B4-BE49-F238E27FC236}">
                <a16:creationId xmlns:a16="http://schemas.microsoft.com/office/drawing/2014/main" id="{6DE964B7-68B8-7CA4-846F-7BF2F75CFE7D}"/>
              </a:ext>
            </a:extLst>
          </p:cNvPr>
          <p:cNvSpPr/>
          <p:nvPr/>
        </p:nvSpPr>
        <p:spPr>
          <a:xfrm>
            <a:off x="4638763" y="4031701"/>
            <a:ext cx="314089" cy="152389"/>
          </a:xfrm>
          <a:custGeom>
            <a:avLst/>
            <a:gdLst>
              <a:gd name="connsiteX0" fmla="*/ 0 w 314089"/>
              <a:gd name="connsiteY0" fmla="*/ 38097 h 152389"/>
              <a:gd name="connsiteX1" fmla="*/ 202594 w 314089"/>
              <a:gd name="connsiteY1" fmla="*/ 38097 h 152389"/>
              <a:gd name="connsiteX2" fmla="*/ 202594 w 314089"/>
              <a:gd name="connsiteY2" fmla="*/ 0 h 152389"/>
              <a:gd name="connsiteX3" fmla="*/ 314089 w 314089"/>
              <a:gd name="connsiteY3" fmla="*/ 76195 h 152389"/>
              <a:gd name="connsiteX4" fmla="*/ 202594 w 314089"/>
              <a:gd name="connsiteY4" fmla="*/ 152389 h 152389"/>
              <a:gd name="connsiteX5" fmla="*/ 202594 w 314089"/>
              <a:gd name="connsiteY5" fmla="*/ 114292 h 152389"/>
              <a:gd name="connsiteX6" fmla="*/ 0 w 314089"/>
              <a:gd name="connsiteY6" fmla="*/ 114292 h 152389"/>
              <a:gd name="connsiteX7" fmla="*/ 0 w 314089"/>
              <a:gd name="connsiteY7" fmla="*/ 38097 h 152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4089" h="152389" extrusionOk="0">
                <a:moveTo>
                  <a:pt x="0" y="38097"/>
                </a:moveTo>
                <a:cubicBezTo>
                  <a:pt x="52967" y="41992"/>
                  <a:pt x="140330" y="35096"/>
                  <a:pt x="202594" y="38097"/>
                </a:cubicBezTo>
                <a:cubicBezTo>
                  <a:pt x="203720" y="29278"/>
                  <a:pt x="201487" y="12217"/>
                  <a:pt x="202594" y="0"/>
                </a:cubicBezTo>
                <a:cubicBezTo>
                  <a:pt x="250704" y="31894"/>
                  <a:pt x="285487" y="59697"/>
                  <a:pt x="314089" y="76195"/>
                </a:cubicBezTo>
                <a:cubicBezTo>
                  <a:pt x="263585" y="116079"/>
                  <a:pt x="224767" y="135612"/>
                  <a:pt x="202594" y="152389"/>
                </a:cubicBezTo>
                <a:cubicBezTo>
                  <a:pt x="201837" y="143513"/>
                  <a:pt x="201365" y="122824"/>
                  <a:pt x="202594" y="114292"/>
                </a:cubicBezTo>
                <a:cubicBezTo>
                  <a:pt x="157247" y="123016"/>
                  <a:pt x="98127" y="112087"/>
                  <a:pt x="0" y="114292"/>
                </a:cubicBezTo>
                <a:cubicBezTo>
                  <a:pt x="-3058" y="87297"/>
                  <a:pt x="465" y="64655"/>
                  <a:pt x="0" y="38097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>
                      <a:gd name="adj1" fmla="val 50000"/>
                      <a:gd name="adj2" fmla="val 73165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9" name="Arrow: Right 2058">
            <a:extLst>
              <a:ext uri="{FF2B5EF4-FFF2-40B4-BE49-F238E27FC236}">
                <a16:creationId xmlns:a16="http://schemas.microsoft.com/office/drawing/2014/main" id="{F801CB75-769C-D145-3164-8BCA11DA197C}"/>
              </a:ext>
            </a:extLst>
          </p:cNvPr>
          <p:cNvSpPr/>
          <p:nvPr/>
        </p:nvSpPr>
        <p:spPr>
          <a:xfrm>
            <a:off x="7530721" y="4397061"/>
            <a:ext cx="1109406" cy="234205"/>
          </a:xfrm>
          <a:custGeom>
            <a:avLst/>
            <a:gdLst>
              <a:gd name="connsiteX0" fmla="*/ 0 w 1109406"/>
              <a:gd name="connsiteY0" fmla="*/ 58551 h 234205"/>
              <a:gd name="connsiteX1" fmla="*/ 486229 w 1109406"/>
              <a:gd name="connsiteY1" fmla="*/ 58551 h 234205"/>
              <a:gd name="connsiteX2" fmla="*/ 992304 w 1109406"/>
              <a:gd name="connsiteY2" fmla="*/ 58551 h 234205"/>
              <a:gd name="connsiteX3" fmla="*/ 992304 w 1109406"/>
              <a:gd name="connsiteY3" fmla="*/ 0 h 234205"/>
              <a:gd name="connsiteX4" fmla="*/ 1109406 w 1109406"/>
              <a:gd name="connsiteY4" fmla="*/ 117103 h 234205"/>
              <a:gd name="connsiteX5" fmla="*/ 992304 w 1109406"/>
              <a:gd name="connsiteY5" fmla="*/ 234205 h 234205"/>
              <a:gd name="connsiteX6" fmla="*/ 992304 w 1109406"/>
              <a:gd name="connsiteY6" fmla="*/ 175654 h 234205"/>
              <a:gd name="connsiteX7" fmla="*/ 515998 w 1109406"/>
              <a:gd name="connsiteY7" fmla="*/ 175654 h 234205"/>
              <a:gd name="connsiteX8" fmla="*/ 0 w 1109406"/>
              <a:gd name="connsiteY8" fmla="*/ 175654 h 234205"/>
              <a:gd name="connsiteX9" fmla="*/ 0 w 1109406"/>
              <a:gd name="connsiteY9" fmla="*/ 58551 h 234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9406" h="234205" extrusionOk="0">
                <a:moveTo>
                  <a:pt x="0" y="58551"/>
                </a:moveTo>
                <a:cubicBezTo>
                  <a:pt x="222347" y="37923"/>
                  <a:pt x="310675" y="38927"/>
                  <a:pt x="486229" y="58551"/>
                </a:cubicBezTo>
                <a:cubicBezTo>
                  <a:pt x="661783" y="78175"/>
                  <a:pt x="859783" y="63824"/>
                  <a:pt x="992304" y="58551"/>
                </a:cubicBezTo>
                <a:cubicBezTo>
                  <a:pt x="993020" y="41256"/>
                  <a:pt x="990147" y="15159"/>
                  <a:pt x="992304" y="0"/>
                </a:cubicBezTo>
                <a:cubicBezTo>
                  <a:pt x="1018788" y="24798"/>
                  <a:pt x="1050788" y="67063"/>
                  <a:pt x="1109406" y="117103"/>
                </a:cubicBezTo>
                <a:cubicBezTo>
                  <a:pt x="1072629" y="161142"/>
                  <a:pt x="1026658" y="189317"/>
                  <a:pt x="992304" y="234205"/>
                </a:cubicBezTo>
                <a:cubicBezTo>
                  <a:pt x="994041" y="222130"/>
                  <a:pt x="993488" y="188290"/>
                  <a:pt x="992304" y="175654"/>
                </a:cubicBezTo>
                <a:cubicBezTo>
                  <a:pt x="803633" y="186756"/>
                  <a:pt x="645309" y="195690"/>
                  <a:pt x="515998" y="175654"/>
                </a:cubicBezTo>
                <a:cubicBezTo>
                  <a:pt x="386687" y="155618"/>
                  <a:pt x="107316" y="177347"/>
                  <a:pt x="0" y="175654"/>
                </a:cubicBezTo>
                <a:cubicBezTo>
                  <a:pt x="-3119" y="127483"/>
                  <a:pt x="4360" y="112378"/>
                  <a:pt x="0" y="58551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65" name="Arrow: Right 2064">
            <a:extLst>
              <a:ext uri="{FF2B5EF4-FFF2-40B4-BE49-F238E27FC236}">
                <a16:creationId xmlns:a16="http://schemas.microsoft.com/office/drawing/2014/main" id="{554707AD-820D-59B0-2BE1-998BA127E0F9}"/>
              </a:ext>
            </a:extLst>
          </p:cNvPr>
          <p:cNvSpPr/>
          <p:nvPr/>
        </p:nvSpPr>
        <p:spPr>
          <a:xfrm rot="3660239" flipV="1">
            <a:off x="8449089" y="3772749"/>
            <a:ext cx="1039346" cy="197752"/>
          </a:xfrm>
          <a:custGeom>
            <a:avLst/>
            <a:gdLst>
              <a:gd name="connsiteX0" fmla="*/ 0 w 1039346"/>
              <a:gd name="connsiteY0" fmla="*/ 49438 h 197752"/>
              <a:gd name="connsiteX1" fmla="*/ 460830 w 1039346"/>
              <a:gd name="connsiteY1" fmla="*/ 49438 h 197752"/>
              <a:gd name="connsiteX2" fmla="*/ 940470 w 1039346"/>
              <a:gd name="connsiteY2" fmla="*/ 49438 h 197752"/>
              <a:gd name="connsiteX3" fmla="*/ 940470 w 1039346"/>
              <a:gd name="connsiteY3" fmla="*/ 0 h 197752"/>
              <a:gd name="connsiteX4" fmla="*/ 1039346 w 1039346"/>
              <a:gd name="connsiteY4" fmla="*/ 98876 h 197752"/>
              <a:gd name="connsiteX5" fmla="*/ 940470 w 1039346"/>
              <a:gd name="connsiteY5" fmla="*/ 197752 h 197752"/>
              <a:gd name="connsiteX6" fmla="*/ 940470 w 1039346"/>
              <a:gd name="connsiteY6" fmla="*/ 148314 h 197752"/>
              <a:gd name="connsiteX7" fmla="*/ 489044 w 1039346"/>
              <a:gd name="connsiteY7" fmla="*/ 148314 h 197752"/>
              <a:gd name="connsiteX8" fmla="*/ 0 w 1039346"/>
              <a:gd name="connsiteY8" fmla="*/ 148314 h 197752"/>
              <a:gd name="connsiteX9" fmla="*/ 0 w 1039346"/>
              <a:gd name="connsiteY9" fmla="*/ 49438 h 19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39346" h="197752" extrusionOk="0">
                <a:moveTo>
                  <a:pt x="0" y="49438"/>
                </a:moveTo>
                <a:cubicBezTo>
                  <a:pt x="134561" y="46031"/>
                  <a:pt x="360177" y="30611"/>
                  <a:pt x="460830" y="49438"/>
                </a:cubicBezTo>
                <a:cubicBezTo>
                  <a:pt x="561483" y="68266"/>
                  <a:pt x="808301" y="47673"/>
                  <a:pt x="940470" y="49438"/>
                </a:cubicBezTo>
                <a:cubicBezTo>
                  <a:pt x="941521" y="27830"/>
                  <a:pt x="941479" y="23659"/>
                  <a:pt x="940470" y="0"/>
                </a:cubicBezTo>
                <a:cubicBezTo>
                  <a:pt x="969187" y="24837"/>
                  <a:pt x="1016235" y="71130"/>
                  <a:pt x="1039346" y="98876"/>
                </a:cubicBezTo>
                <a:cubicBezTo>
                  <a:pt x="989391" y="141041"/>
                  <a:pt x="972141" y="173368"/>
                  <a:pt x="940470" y="197752"/>
                </a:cubicBezTo>
                <a:cubicBezTo>
                  <a:pt x="939977" y="180109"/>
                  <a:pt x="938363" y="162894"/>
                  <a:pt x="940470" y="148314"/>
                </a:cubicBezTo>
                <a:cubicBezTo>
                  <a:pt x="818971" y="135736"/>
                  <a:pt x="643147" y="166443"/>
                  <a:pt x="489044" y="148314"/>
                </a:cubicBezTo>
                <a:cubicBezTo>
                  <a:pt x="334941" y="130185"/>
                  <a:pt x="215146" y="162363"/>
                  <a:pt x="0" y="148314"/>
                </a:cubicBezTo>
                <a:cubicBezTo>
                  <a:pt x="1981" y="119112"/>
                  <a:pt x="-3662" y="72653"/>
                  <a:pt x="0" y="49438"/>
                </a:cubicBezTo>
                <a:close/>
              </a:path>
            </a:pathLst>
          </a:custGeom>
          <a:noFill/>
          <a:ln w="254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66" name="Arrow: Right 2065">
            <a:extLst>
              <a:ext uri="{FF2B5EF4-FFF2-40B4-BE49-F238E27FC236}">
                <a16:creationId xmlns:a16="http://schemas.microsoft.com/office/drawing/2014/main" id="{C47B7FEE-892C-6CDB-2809-01030A8B509C}"/>
              </a:ext>
            </a:extLst>
          </p:cNvPr>
          <p:cNvSpPr/>
          <p:nvPr/>
        </p:nvSpPr>
        <p:spPr>
          <a:xfrm>
            <a:off x="9661135" y="4954027"/>
            <a:ext cx="259818" cy="184259"/>
          </a:xfrm>
          <a:custGeom>
            <a:avLst/>
            <a:gdLst>
              <a:gd name="connsiteX0" fmla="*/ 0 w 259818"/>
              <a:gd name="connsiteY0" fmla="*/ 46065 h 184259"/>
              <a:gd name="connsiteX1" fmla="*/ 167689 w 259818"/>
              <a:gd name="connsiteY1" fmla="*/ 46065 h 184259"/>
              <a:gd name="connsiteX2" fmla="*/ 167689 w 259818"/>
              <a:gd name="connsiteY2" fmla="*/ 0 h 184259"/>
              <a:gd name="connsiteX3" fmla="*/ 259818 w 259818"/>
              <a:gd name="connsiteY3" fmla="*/ 92130 h 184259"/>
              <a:gd name="connsiteX4" fmla="*/ 167689 w 259818"/>
              <a:gd name="connsiteY4" fmla="*/ 184259 h 184259"/>
              <a:gd name="connsiteX5" fmla="*/ 167689 w 259818"/>
              <a:gd name="connsiteY5" fmla="*/ 138194 h 184259"/>
              <a:gd name="connsiteX6" fmla="*/ 0 w 259818"/>
              <a:gd name="connsiteY6" fmla="*/ 138194 h 184259"/>
              <a:gd name="connsiteX7" fmla="*/ 0 w 259818"/>
              <a:gd name="connsiteY7" fmla="*/ 46065 h 184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9818" h="184259" extrusionOk="0">
                <a:moveTo>
                  <a:pt x="0" y="46065"/>
                </a:moveTo>
                <a:cubicBezTo>
                  <a:pt x="50607" y="40808"/>
                  <a:pt x="131763" y="52407"/>
                  <a:pt x="167689" y="46065"/>
                </a:cubicBezTo>
                <a:cubicBezTo>
                  <a:pt x="169238" y="28750"/>
                  <a:pt x="168475" y="13679"/>
                  <a:pt x="167689" y="0"/>
                </a:cubicBezTo>
                <a:cubicBezTo>
                  <a:pt x="188003" y="23551"/>
                  <a:pt x="230479" y="55820"/>
                  <a:pt x="259818" y="92130"/>
                </a:cubicBezTo>
                <a:cubicBezTo>
                  <a:pt x="233418" y="116514"/>
                  <a:pt x="212381" y="145655"/>
                  <a:pt x="167689" y="184259"/>
                </a:cubicBezTo>
                <a:cubicBezTo>
                  <a:pt x="165537" y="165801"/>
                  <a:pt x="166111" y="152551"/>
                  <a:pt x="167689" y="138194"/>
                </a:cubicBezTo>
                <a:cubicBezTo>
                  <a:pt x="88657" y="138007"/>
                  <a:pt x="51142" y="137500"/>
                  <a:pt x="0" y="138194"/>
                </a:cubicBezTo>
                <a:cubicBezTo>
                  <a:pt x="-2375" y="92330"/>
                  <a:pt x="-3557" y="88170"/>
                  <a:pt x="0" y="46065"/>
                </a:cubicBezTo>
                <a:close/>
              </a:path>
            </a:pathLst>
          </a:custGeom>
          <a:noFill/>
          <a:ln w="254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69" name="Group 2068">
            <a:extLst>
              <a:ext uri="{FF2B5EF4-FFF2-40B4-BE49-F238E27FC236}">
                <a16:creationId xmlns:a16="http://schemas.microsoft.com/office/drawing/2014/main" id="{056010CF-4FB7-72EA-11D2-141139A127B6}"/>
              </a:ext>
            </a:extLst>
          </p:cNvPr>
          <p:cNvGrpSpPr/>
          <p:nvPr/>
        </p:nvGrpSpPr>
        <p:grpSpPr>
          <a:xfrm>
            <a:off x="7881878" y="2574586"/>
            <a:ext cx="984668" cy="790227"/>
            <a:chOff x="7847850" y="2300529"/>
            <a:chExt cx="984668" cy="790227"/>
          </a:xfrm>
        </p:grpSpPr>
        <p:grpSp>
          <p:nvGrpSpPr>
            <p:cNvPr id="2060" name="Group 2059">
              <a:extLst>
                <a:ext uri="{FF2B5EF4-FFF2-40B4-BE49-F238E27FC236}">
                  <a16:creationId xmlns:a16="http://schemas.microsoft.com/office/drawing/2014/main" id="{27812AF3-C333-6385-08C1-BC8FB09934C8}"/>
                </a:ext>
              </a:extLst>
            </p:cNvPr>
            <p:cNvGrpSpPr/>
            <p:nvPr/>
          </p:nvGrpSpPr>
          <p:grpSpPr>
            <a:xfrm>
              <a:off x="7922379" y="2369064"/>
              <a:ext cx="778829" cy="721692"/>
              <a:chOff x="3409768" y="2600757"/>
              <a:chExt cx="1571305" cy="1560279"/>
            </a:xfrm>
          </p:grpSpPr>
          <p:pic>
            <p:nvPicPr>
              <p:cNvPr id="2061" name="Picture 2060">
                <a:extLst>
                  <a:ext uri="{FF2B5EF4-FFF2-40B4-BE49-F238E27FC236}">
                    <a16:creationId xmlns:a16="http://schemas.microsoft.com/office/drawing/2014/main" id="{0EA46D97-700E-B7C4-AD88-7CD9A56E662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3987546" y="2600757"/>
                <a:ext cx="993527" cy="126704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62" name="Picture 2061" descr="A white robot with a black background&#10;&#10;Description automatically generated">
                <a:extLst>
                  <a:ext uri="{FF2B5EF4-FFF2-40B4-BE49-F238E27FC236}">
                    <a16:creationId xmlns:a16="http://schemas.microsoft.com/office/drawing/2014/main" id="{45C70D13-C710-067D-62BB-2C1A1DE2D1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09768" y="3005480"/>
                <a:ext cx="1155556" cy="1155556"/>
              </a:xfrm>
              <a:prstGeom prst="rect">
                <a:avLst/>
              </a:prstGeom>
            </p:spPr>
          </p:pic>
        </p:grpSp>
        <p:sp>
          <p:nvSpPr>
            <p:cNvPr id="2067" name="Rectangle: Rounded Corners 2066">
              <a:extLst>
                <a:ext uri="{FF2B5EF4-FFF2-40B4-BE49-F238E27FC236}">
                  <a16:creationId xmlns:a16="http://schemas.microsoft.com/office/drawing/2014/main" id="{289D8543-FB4B-2075-CC01-036ACCD94B0F}"/>
                </a:ext>
              </a:extLst>
            </p:cNvPr>
            <p:cNvSpPr/>
            <p:nvPr/>
          </p:nvSpPr>
          <p:spPr>
            <a:xfrm>
              <a:off x="7847850" y="2300529"/>
              <a:ext cx="984668" cy="750646"/>
            </a:xfrm>
            <a:custGeom>
              <a:avLst/>
              <a:gdLst>
                <a:gd name="connsiteX0" fmla="*/ 0 w 984668"/>
                <a:gd name="connsiteY0" fmla="*/ 125110 h 750646"/>
                <a:gd name="connsiteX1" fmla="*/ 125110 w 984668"/>
                <a:gd name="connsiteY1" fmla="*/ 0 h 750646"/>
                <a:gd name="connsiteX2" fmla="*/ 507023 w 984668"/>
                <a:gd name="connsiteY2" fmla="*/ 0 h 750646"/>
                <a:gd name="connsiteX3" fmla="*/ 859558 w 984668"/>
                <a:gd name="connsiteY3" fmla="*/ 0 h 750646"/>
                <a:gd name="connsiteX4" fmla="*/ 984668 w 984668"/>
                <a:gd name="connsiteY4" fmla="*/ 125110 h 750646"/>
                <a:gd name="connsiteX5" fmla="*/ 984668 w 984668"/>
                <a:gd name="connsiteY5" fmla="*/ 625536 h 750646"/>
                <a:gd name="connsiteX6" fmla="*/ 859558 w 984668"/>
                <a:gd name="connsiteY6" fmla="*/ 750646 h 750646"/>
                <a:gd name="connsiteX7" fmla="*/ 492334 w 984668"/>
                <a:gd name="connsiteY7" fmla="*/ 750646 h 750646"/>
                <a:gd name="connsiteX8" fmla="*/ 125110 w 984668"/>
                <a:gd name="connsiteY8" fmla="*/ 750646 h 750646"/>
                <a:gd name="connsiteX9" fmla="*/ 0 w 984668"/>
                <a:gd name="connsiteY9" fmla="*/ 625536 h 750646"/>
                <a:gd name="connsiteX10" fmla="*/ 0 w 984668"/>
                <a:gd name="connsiteY10" fmla="*/ 125110 h 750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84668" h="750646" extrusionOk="0">
                  <a:moveTo>
                    <a:pt x="0" y="125110"/>
                  </a:moveTo>
                  <a:cubicBezTo>
                    <a:pt x="-9580" y="50105"/>
                    <a:pt x="52322" y="1386"/>
                    <a:pt x="125110" y="0"/>
                  </a:cubicBezTo>
                  <a:cubicBezTo>
                    <a:pt x="289853" y="-6597"/>
                    <a:pt x="417927" y="13616"/>
                    <a:pt x="507023" y="0"/>
                  </a:cubicBezTo>
                  <a:cubicBezTo>
                    <a:pt x="596119" y="-13616"/>
                    <a:pt x="699562" y="-12076"/>
                    <a:pt x="859558" y="0"/>
                  </a:cubicBezTo>
                  <a:cubicBezTo>
                    <a:pt x="913737" y="-8162"/>
                    <a:pt x="999580" y="63139"/>
                    <a:pt x="984668" y="125110"/>
                  </a:cubicBezTo>
                  <a:cubicBezTo>
                    <a:pt x="988017" y="304907"/>
                    <a:pt x="960285" y="418914"/>
                    <a:pt x="984668" y="625536"/>
                  </a:cubicBezTo>
                  <a:cubicBezTo>
                    <a:pt x="987412" y="690166"/>
                    <a:pt x="924914" y="753933"/>
                    <a:pt x="859558" y="750646"/>
                  </a:cubicBezTo>
                  <a:cubicBezTo>
                    <a:pt x="698694" y="766720"/>
                    <a:pt x="644692" y="749982"/>
                    <a:pt x="492334" y="750646"/>
                  </a:cubicBezTo>
                  <a:cubicBezTo>
                    <a:pt x="339976" y="751310"/>
                    <a:pt x="209810" y="739942"/>
                    <a:pt x="125110" y="750646"/>
                  </a:cubicBezTo>
                  <a:cubicBezTo>
                    <a:pt x="45398" y="750039"/>
                    <a:pt x="827" y="692364"/>
                    <a:pt x="0" y="625536"/>
                  </a:cubicBezTo>
                  <a:cubicBezTo>
                    <a:pt x="12099" y="513508"/>
                    <a:pt x="-17618" y="305814"/>
                    <a:pt x="0" y="125110"/>
                  </a:cubicBezTo>
                  <a:close/>
                </a:path>
              </a:pathLst>
            </a:custGeom>
            <a:noFill/>
            <a:ln w="38100">
              <a:solidFill>
                <a:srgbClr val="D01012"/>
              </a:solidFill>
              <a:prstDash val="sysDot"/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endParaRPr lang="en-US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330376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zure Template Custom U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3071" y="1507055"/>
            <a:ext cx="9725984" cy="69455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By default, the Portal will create a simple user experience. To provide a richer, more robust experience you can create your own for Azure Portal deployments.</a:t>
            </a:r>
            <a:endParaRPr lang="en-US" sz="20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16386" name="Picture 2">
            <a:extLst>
              <a:ext uri="{FF2B5EF4-FFF2-40B4-BE49-F238E27FC236}">
                <a16:creationId xmlns:a16="http://schemas.microsoft.com/office/drawing/2014/main" id="{54088610-96F7-0299-5CFD-CE46B4331C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907" y="2432930"/>
            <a:ext cx="984667" cy="984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34DC775C-FE86-F5DC-F3D1-D5E2D253A742}"/>
              </a:ext>
            </a:extLst>
          </p:cNvPr>
          <p:cNvSpPr/>
          <p:nvPr/>
        </p:nvSpPr>
        <p:spPr>
          <a:xfrm>
            <a:off x="613071" y="2531059"/>
            <a:ext cx="3950243" cy="3401138"/>
          </a:xfrm>
          <a:custGeom>
            <a:avLst/>
            <a:gdLst>
              <a:gd name="connsiteX0" fmla="*/ 0 w 3950243"/>
              <a:gd name="connsiteY0" fmla="*/ 566868 h 3401138"/>
              <a:gd name="connsiteX1" fmla="*/ 566868 w 3950243"/>
              <a:gd name="connsiteY1" fmla="*/ 0 h 3401138"/>
              <a:gd name="connsiteX2" fmla="*/ 1186500 w 3950243"/>
              <a:gd name="connsiteY2" fmla="*/ 0 h 3401138"/>
              <a:gd name="connsiteX3" fmla="*/ 1721636 w 3950243"/>
              <a:gd name="connsiteY3" fmla="*/ 0 h 3401138"/>
              <a:gd name="connsiteX4" fmla="*/ 2228607 w 3950243"/>
              <a:gd name="connsiteY4" fmla="*/ 0 h 3401138"/>
              <a:gd name="connsiteX5" fmla="*/ 2820074 w 3950243"/>
              <a:gd name="connsiteY5" fmla="*/ 0 h 3401138"/>
              <a:gd name="connsiteX6" fmla="*/ 3383375 w 3950243"/>
              <a:gd name="connsiteY6" fmla="*/ 0 h 3401138"/>
              <a:gd name="connsiteX7" fmla="*/ 3950243 w 3950243"/>
              <a:gd name="connsiteY7" fmla="*/ 566868 h 3401138"/>
              <a:gd name="connsiteX8" fmla="*/ 3950243 w 3950243"/>
              <a:gd name="connsiteY8" fmla="*/ 1133719 h 3401138"/>
              <a:gd name="connsiteX9" fmla="*/ 3950243 w 3950243"/>
              <a:gd name="connsiteY9" fmla="*/ 1632547 h 3401138"/>
              <a:gd name="connsiteX10" fmla="*/ 3950243 w 3950243"/>
              <a:gd name="connsiteY10" fmla="*/ 2199397 h 3401138"/>
              <a:gd name="connsiteX11" fmla="*/ 3950243 w 3950243"/>
              <a:gd name="connsiteY11" fmla="*/ 2834270 h 3401138"/>
              <a:gd name="connsiteX12" fmla="*/ 3383375 w 3950243"/>
              <a:gd name="connsiteY12" fmla="*/ 3401138 h 3401138"/>
              <a:gd name="connsiteX13" fmla="*/ 2820074 w 3950243"/>
              <a:gd name="connsiteY13" fmla="*/ 3401138 h 3401138"/>
              <a:gd name="connsiteX14" fmla="*/ 2313102 w 3950243"/>
              <a:gd name="connsiteY14" fmla="*/ 3401138 h 3401138"/>
              <a:gd name="connsiteX15" fmla="*/ 1749801 w 3950243"/>
              <a:gd name="connsiteY15" fmla="*/ 3401138 h 3401138"/>
              <a:gd name="connsiteX16" fmla="*/ 1130169 w 3950243"/>
              <a:gd name="connsiteY16" fmla="*/ 3401138 h 3401138"/>
              <a:gd name="connsiteX17" fmla="*/ 566868 w 3950243"/>
              <a:gd name="connsiteY17" fmla="*/ 3401138 h 3401138"/>
              <a:gd name="connsiteX18" fmla="*/ 0 w 3950243"/>
              <a:gd name="connsiteY18" fmla="*/ 2834270 h 3401138"/>
              <a:gd name="connsiteX19" fmla="*/ 0 w 3950243"/>
              <a:gd name="connsiteY19" fmla="*/ 2312768 h 3401138"/>
              <a:gd name="connsiteX20" fmla="*/ 0 w 3950243"/>
              <a:gd name="connsiteY20" fmla="*/ 1745917 h 3401138"/>
              <a:gd name="connsiteX21" fmla="*/ 0 w 3950243"/>
              <a:gd name="connsiteY21" fmla="*/ 1224415 h 3401138"/>
              <a:gd name="connsiteX22" fmla="*/ 0 w 3950243"/>
              <a:gd name="connsiteY22" fmla="*/ 566868 h 340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50243" h="3401138" extrusionOk="0">
                <a:moveTo>
                  <a:pt x="0" y="566868"/>
                </a:moveTo>
                <a:cubicBezTo>
                  <a:pt x="-10161" y="247527"/>
                  <a:pt x="224591" y="10961"/>
                  <a:pt x="566868" y="0"/>
                </a:cubicBezTo>
                <a:cubicBezTo>
                  <a:pt x="747352" y="-461"/>
                  <a:pt x="913983" y="819"/>
                  <a:pt x="1186500" y="0"/>
                </a:cubicBezTo>
                <a:cubicBezTo>
                  <a:pt x="1459017" y="-819"/>
                  <a:pt x="1597586" y="-11433"/>
                  <a:pt x="1721636" y="0"/>
                </a:cubicBezTo>
                <a:cubicBezTo>
                  <a:pt x="1845686" y="11433"/>
                  <a:pt x="2018474" y="-23792"/>
                  <a:pt x="2228607" y="0"/>
                </a:cubicBezTo>
                <a:cubicBezTo>
                  <a:pt x="2438740" y="23792"/>
                  <a:pt x="2658505" y="11076"/>
                  <a:pt x="2820074" y="0"/>
                </a:cubicBezTo>
                <a:cubicBezTo>
                  <a:pt x="2981643" y="-11076"/>
                  <a:pt x="3220626" y="15773"/>
                  <a:pt x="3383375" y="0"/>
                </a:cubicBezTo>
                <a:cubicBezTo>
                  <a:pt x="3736664" y="-65446"/>
                  <a:pt x="3907410" y="291436"/>
                  <a:pt x="3950243" y="566868"/>
                </a:cubicBezTo>
                <a:cubicBezTo>
                  <a:pt x="3924156" y="786917"/>
                  <a:pt x="3933587" y="925958"/>
                  <a:pt x="3950243" y="1133719"/>
                </a:cubicBezTo>
                <a:cubicBezTo>
                  <a:pt x="3966899" y="1341480"/>
                  <a:pt x="3952864" y="1501939"/>
                  <a:pt x="3950243" y="1632547"/>
                </a:cubicBezTo>
                <a:cubicBezTo>
                  <a:pt x="3947622" y="1763155"/>
                  <a:pt x="3931118" y="2047385"/>
                  <a:pt x="3950243" y="2199397"/>
                </a:cubicBezTo>
                <a:cubicBezTo>
                  <a:pt x="3969369" y="2351409"/>
                  <a:pt x="3948295" y="2618066"/>
                  <a:pt x="3950243" y="2834270"/>
                </a:cubicBezTo>
                <a:cubicBezTo>
                  <a:pt x="3988033" y="3110000"/>
                  <a:pt x="3721780" y="3384803"/>
                  <a:pt x="3383375" y="3401138"/>
                </a:cubicBezTo>
                <a:cubicBezTo>
                  <a:pt x="3250224" y="3405361"/>
                  <a:pt x="3001634" y="3394571"/>
                  <a:pt x="2820074" y="3401138"/>
                </a:cubicBezTo>
                <a:cubicBezTo>
                  <a:pt x="2638514" y="3407705"/>
                  <a:pt x="2556441" y="3401035"/>
                  <a:pt x="2313102" y="3401138"/>
                </a:cubicBezTo>
                <a:cubicBezTo>
                  <a:pt x="2069763" y="3401241"/>
                  <a:pt x="1996553" y="3375595"/>
                  <a:pt x="1749801" y="3401138"/>
                </a:cubicBezTo>
                <a:cubicBezTo>
                  <a:pt x="1503049" y="3426681"/>
                  <a:pt x="1289956" y="3416195"/>
                  <a:pt x="1130169" y="3401138"/>
                </a:cubicBezTo>
                <a:cubicBezTo>
                  <a:pt x="970382" y="3386081"/>
                  <a:pt x="816758" y="3391071"/>
                  <a:pt x="566868" y="3401138"/>
                </a:cubicBezTo>
                <a:cubicBezTo>
                  <a:pt x="236104" y="3432770"/>
                  <a:pt x="6058" y="3151845"/>
                  <a:pt x="0" y="2834270"/>
                </a:cubicBezTo>
                <a:cubicBezTo>
                  <a:pt x="-13909" y="2602595"/>
                  <a:pt x="-21376" y="2523221"/>
                  <a:pt x="0" y="2312768"/>
                </a:cubicBezTo>
                <a:cubicBezTo>
                  <a:pt x="21376" y="2102315"/>
                  <a:pt x="11788" y="1978446"/>
                  <a:pt x="0" y="1745917"/>
                </a:cubicBezTo>
                <a:cubicBezTo>
                  <a:pt x="-11788" y="1513388"/>
                  <a:pt x="-10196" y="1460998"/>
                  <a:pt x="0" y="1224415"/>
                </a:cubicBezTo>
                <a:cubicBezTo>
                  <a:pt x="10196" y="987832"/>
                  <a:pt x="-20069" y="756879"/>
                  <a:pt x="0" y="566868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6136E1C-7F3A-BA3F-FC0C-C01F84635983}"/>
              </a:ext>
            </a:extLst>
          </p:cNvPr>
          <p:cNvSpPr txBox="1"/>
          <p:nvPr/>
        </p:nvSpPr>
        <p:spPr>
          <a:xfrm>
            <a:off x="637034" y="3423800"/>
            <a:ext cx="18678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</a:t>
            </a:r>
            <a:r>
              <a:rPr lang="en-US" dirty="0" err="1"/>
              <a:t>bicepModules</a:t>
            </a:r>
            <a:r>
              <a:rPr lang="en-US" dirty="0"/>
              <a:t>/…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2651B7D-662C-F793-8FDA-FCDC154CCB52}"/>
              </a:ext>
            </a:extLst>
          </p:cNvPr>
          <p:cNvSpPr txBox="1"/>
          <p:nvPr/>
        </p:nvSpPr>
        <p:spPr>
          <a:xfrm>
            <a:off x="630962" y="3919372"/>
            <a:ext cx="3925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</a:t>
            </a:r>
            <a:r>
              <a:rPr lang="en-US" dirty="0" err="1"/>
              <a:t>templateSpecs</a:t>
            </a:r>
            <a:r>
              <a:rPr lang="en-US" dirty="0"/>
              <a:t>/&lt;name&gt;/&lt;name&gt;.bicep</a:t>
            </a: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3D8DB2C7-41BF-F19B-6274-7171139B9E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7007" y="2474871"/>
            <a:ext cx="824608" cy="824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FE48ED0D-8310-E6BC-DEF4-708A608CC621}"/>
              </a:ext>
            </a:extLst>
          </p:cNvPr>
          <p:cNvSpPr/>
          <p:nvPr/>
        </p:nvSpPr>
        <p:spPr>
          <a:xfrm>
            <a:off x="5010637" y="2531059"/>
            <a:ext cx="2479921" cy="3401138"/>
          </a:xfrm>
          <a:custGeom>
            <a:avLst/>
            <a:gdLst>
              <a:gd name="connsiteX0" fmla="*/ 0 w 2479921"/>
              <a:gd name="connsiteY0" fmla="*/ 413328 h 3401138"/>
              <a:gd name="connsiteX1" fmla="*/ 413328 w 2479921"/>
              <a:gd name="connsiteY1" fmla="*/ 0 h 3401138"/>
              <a:gd name="connsiteX2" fmla="*/ 997482 w 2479921"/>
              <a:gd name="connsiteY2" fmla="*/ 0 h 3401138"/>
              <a:gd name="connsiteX3" fmla="*/ 1532037 w 2479921"/>
              <a:gd name="connsiteY3" fmla="*/ 0 h 3401138"/>
              <a:gd name="connsiteX4" fmla="*/ 2066593 w 2479921"/>
              <a:gd name="connsiteY4" fmla="*/ 0 h 3401138"/>
              <a:gd name="connsiteX5" fmla="*/ 2479921 w 2479921"/>
              <a:gd name="connsiteY5" fmla="*/ 413328 h 3401138"/>
              <a:gd name="connsiteX6" fmla="*/ 2479921 w 2479921"/>
              <a:gd name="connsiteY6" fmla="*/ 1005459 h 3401138"/>
              <a:gd name="connsiteX7" fmla="*/ 2479921 w 2479921"/>
              <a:gd name="connsiteY7" fmla="*/ 1597590 h 3401138"/>
              <a:gd name="connsiteX8" fmla="*/ 2479921 w 2479921"/>
              <a:gd name="connsiteY8" fmla="*/ 2292700 h 3401138"/>
              <a:gd name="connsiteX9" fmla="*/ 2479921 w 2479921"/>
              <a:gd name="connsiteY9" fmla="*/ 2987810 h 3401138"/>
              <a:gd name="connsiteX10" fmla="*/ 2066593 w 2479921"/>
              <a:gd name="connsiteY10" fmla="*/ 3401138 h 3401138"/>
              <a:gd name="connsiteX11" fmla="*/ 1498972 w 2479921"/>
              <a:gd name="connsiteY11" fmla="*/ 3401138 h 3401138"/>
              <a:gd name="connsiteX12" fmla="*/ 914818 w 2479921"/>
              <a:gd name="connsiteY12" fmla="*/ 3401138 h 3401138"/>
              <a:gd name="connsiteX13" fmla="*/ 413328 w 2479921"/>
              <a:gd name="connsiteY13" fmla="*/ 3401138 h 3401138"/>
              <a:gd name="connsiteX14" fmla="*/ 0 w 2479921"/>
              <a:gd name="connsiteY14" fmla="*/ 2987810 h 3401138"/>
              <a:gd name="connsiteX15" fmla="*/ 0 w 2479921"/>
              <a:gd name="connsiteY15" fmla="*/ 2318445 h 3401138"/>
              <a:gd name="connsiteX16" fmla="*/ 0 w 2479921"/>
              <a:gd name="connsiteY16" fmla="*/ 1674824 h 3401138"/>
              <a:gd name="connsiteX17" fmla="*/ 0 w 2479921"/>
              <a:gd name="connsiteY17" fmla="*/ 1108438 h 3401138"/>
              <a:gd name="connsiteX18" fmla="*/ 0 w 2479921"/>
              <a:gd name="connsiteY18" fmla="*/ 413328 h 340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479921" h="3401138" extrusionOk="0">
                <a:moveTo>
                  <a:pt x="0" y="413328"/>
                </a:moveTo>
                <a:cubicBezTo>
                  <a:pt x="-42586" y="158785"/>
                  <a:pt x="169361" y="5889"/>
                  <a:pt x="413328" y="0"/>
                </a:cubicBezTo>
                <a:cubicBezTo>
                  <a:pt x="700796" y="20908"/>
                  <a:pt x="821384" y="-20062"/>
                  <a:pt x="997482" y="0"/>
                </a:cubicBezTo>
                <a:cubicBezTo>
                  <a:pt x="1173580" y="20062"/>
                  <a:pt x="1405573" y="-4502"/>
                  <a:pt x="1532037" y="0"/>
                </a:cubicBezTo>
                <a:cubicBezTo>
                  <a:pt x="1658501" y="4502"/>
                  <a:pt x="1904853" y="-17499"/>
                  <a:pt x="2066593" y="0"/>
                </a:cubicBezTo>
                <a:cubicBezTo>
                  <a:pt x="2292777" y="-6735"/>
                  <a:pt x="2493051" y="136464"/>
                  <a:pt x="2479921" y="413328"/>
                </a:cubicBezTo>
                <a:cubicBezTo>
                  <a:pt x="2487557" y="608156"/>
                  <a:pt x="2473129" y="752772"/>
                  <a:pt x="2479921" y="1005459"/>
                </a:cubicBezTo>
                <a:cubicBezTo>
                  <a:pt x="2486713" y="1258146"/>
                  <a:pt x="2496994" y="1452933"/>
                  <a:pt x="2479921" y="1597590"/>
                </a:cubicBezTo>
                <a:cubicBezTo>
                  <a:pt x="2462848" y="1742247"/>
                  <a:pt x="2484196" y="1971126"/>
                  <a:pt x="2479921" y="2292700"/>
                </a:cubicBezTo>
                <a:cubicBezTo>
                  <a:pt x="2475647" y="2614274"/>
                  <a:pt x="2452823" y="2685940"/>
                  <a:pt x="2479921" y="2987810"/>
                </a:cubicBezTo>
                <a:cubicBezTo>
                  <a:pt x="2425020" y="3212945"/>
                  <a:pt x="2296802" y="3395835"/>
                  <a:pt x="2066593" y="3401138"/>
                </a:cubicBezTo>
                <a:cubicBezTo>
                  <a:pt x="1842210" y="3407192"/>
                  <a:pt x="1728370" y="3392358"/>
                  <a:pt x="1498972" y="3401138"/>
                </a:cubicBezTo>
                <a:cubicBezTo>
                  <a:pt x="1269574" y="3409918"/>
                  <a:pt x="1073950" y="3410995"/>
                  <a:pt x="914818" y="3401138"/>
                </a:cubicBezTo>
                <a:cubicBezTo>
                  <a:pt x="755686" y="3391281"/>
                  <a:pt x="542302" y="3414681"/>
                  <a:pt x="413328" y="3401138"/>
                </a:cubicBezTo>
                <a:cubicBezTo>
                  <a:pt x="175064" y="3402778"/>
                  <a:pt x="-36904" y="3190622"/>
                  <a:pt x="0" y="2987810"/>
                </a:cubicBezTo>
                <a:cubicBezTo>
                  <a:pt x="-20756" y="2719592"/>
                  <a:pt x="23264" y="2639730"/>
                  <a:pt x="0" y="2318445"/>
                </a:cubicBezTo>
                <a:cubicBezTo>
                  <a:pt x="-23264" y="1997160"/>
                  <a:pt x="-26551" y="1970651"/>
                  <a:pt x="0" y="1674824"/>
                </a:cubicBezTo>
                <a:cubicBezTo>
                  <a:pt x="26551" y="1378997"/>
                  <a:pt x="-19951" y="1277372"/>
                  <a:pt x="0" y="1108438"/>
                </a:cubicBezTo>
                <a:cubicBezTo>
                  <a:pt x="19951" y="939504"/>
                  <a:pt x="26617" y="601720"/>
                  <a:pt x="0" y="413328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2F5A9E8-DD22-7D5B-235A-CA9BAB1514C5}"/>
              </a:ext>
            </a:extLst>
          </p:cNvPr>
          <p:cNvSpPr txBox="1"/>
          <p:nvPr/>
        </p:nvSpPr>
        <p:spPr>
          <a:xfrm>
            <a:off x="5097007" y="3571271"/>
            <a:ext cx="21751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pipelines/TS-</a:t>
            </a:r>
            <a:r>
              <a:rPr lang="en-US" dirty="0" err="1"/>
              <a:t>CI.yaml</a:t>
            </a:r>
            <a:endParaRPr lang="en-US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E13A1DA-7852-C14C-0C44-FEDC3426BC9B}"/>
              </a:ext>
            </a:extLst>
          </p:cNvPr>
          <p:cNvSpPr txBox="1"/>
          <p:nvPr/>
        </p:nvSpPr>
        <p:spPr>
          <a:xfrm>
            <a:off x="5097007" y="4027729"/>
            <a:ext cx="22547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pipelines/TS-</a:t>
            </a:r>
            <a:r>
              <a:rPr lang="en-US" dirty="0" err="1"/>
              <a:t>CD.yaml</a:t>
            </a:r>
            <a:endParaRPr lang="en-US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822E61F-8769-DC33-2533-3FC5B62F51F8}"/>
              </a:ext>
            </a:extLst>
          </p:cNvPr>
          <p:cNvSpPr txBox="1"/>
          <p:nvPr/>
        </p:nvSpPr>
        <p:spPr>
          <a:xfrm>
            <a:off x="5097007" y="4518119"/>
            <a:ext cx="19011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scripts/TS-CD.ps1</a:t>
            </a:r>
          </a:p>
        </p:txBody>
      </p:sp>
      <p:grpSp>
        <p:nvGrpSpPr>
          <p:cNvPr id="2057" name="Group 2056">
            <a:extLst>
              <a:ext uri="{FF2B5EF4-FFF2-40B4-BE49-F238E27FC236}">
                <a16:creationId xmlns:a16="http://schemas.microsoft.com/office/drawing/2014/main" id="{1A6D87DC-BE9E-88EA-423F-218541B67B6C}"/>
              </a:ext>
            </a:extLst>
          </p:cNvPr>
          <p:cNvGrpSpPr/>
          <p:nvPr/>
        </p:nvGrpSpPr>
        <p:grpSpPr>
          <a:xfrm>
            <a:off x="10452220" y="11685"/>
            <a:ext cx="1175537" cy="1944560"/>
            <a:chOff x="10452220" y="11685"/>
            <a:chExt cx="1175537" cy="1944560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48F7B265-C444-CEA4-70C7-617EFAC348DE}"/>
                </a:ext>
              </a:extLst>
            </p:cNvPr>
            <p:cNvSpPr/>
            <p:nvPr/>
          </p:nvSpPr>
          <p:spPr>
            <a:xfrm>
              <a:off x="10452220" y="11685"/>
              <a:ext cx="1175537" cy="1385657"/>
            </a:xfrm>
            <a:prstGeom prst="rect">
              <a:avLst/>
            </a:prstGeom>
            <a:solidFill>
              <a:srgbClr val="D01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B0B1641E-4104-29E0-E3EF-B800B1F33E35}"/>
                </a:ext>
              </a:extLst>
            </p:cNvPr>
            <p:cNvSpPr/>
            <p:nvPr/>
          </p:nvSpPr>
          <p:spPr>
            <a:xfrm>
              <a:off x="10452220" y="780708"/>
              <a:ext cx="1175537" cy="1175537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F979CCA2-A25C-CBDB-F0D0-5C203551B054}"/>
                </a:ext>
              </a:extLst>
            </p:cNvPr>
            <p:cNvSpPr/>
            <p:nvPr/>
          </p:nvSpPr>
          <p:spPr>
            <a:xfrm>
              <a:off x="10672318" y="1003519"/>
              <a:ext cx="729915" cy="7299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F5162046-BF55-16D1-C778-00B74E8C2AD9}"/>
                </a:ext>
              </a:extLst>
            </p:cNvPr>
            <p:cNvGrpSpPr/>
            <p:nvPr/>
          </p:nvGrpSpPr>
          <p:grpSpPr>
            <a:xfrm>
              <a:off x="10842995" y="1184484"/>
              <a:ext cx="388560" cy="367985"/>
              <a:chOff x="2805113" y="2247901"/>
              <a:chExt cx="779462" cy="738188"/>
            </a:xfrm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59" name="Freeform 78">
                <a:extLst>
                  <a:ext uri="{FF2B5EF4-FFF2-40B4-BE49-F238E27FC236}">
                    <a16:creationId xmlns:a16="http://schemas.microsoft.com/office/drawing/2014/main" id="{0EA7BEBA-4867-8232-BC4C-3BF44F8311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6725" y="2247901"/>
                <a:ext cx="577850" cy="738188"/>
              </a:xfrm>
              <a:custGeom>
                <a:avLst/>
                <a:gdLst>
                  <a:gd name="T0" fmla="*/ 115 w 153"/>
                  <a:gd name="T1" fmla="*/ 0 h 195"/>
                  <a:gd name="T2" fmla="*/ 6 w 153"/>
                  <a:gd name="T3" fmla="*/ 0 h 195"/>
                  <a:gd name="T4" fmla="*/ 0 w 153"/>
                  <a:gd name="T5" fmla="*/ 7 h 195"/>
                  <a:gd name="T6" fmla="*/ 0 w 153"/>
                  <a:gd name="T7" fmla="*/ 195 h 195"/>
                  <a:gd name="T8" fmla="*/ 153 w 153"/>
                  <a:gd name="T9" fmla="*/ 195 h 195"/>
                  <a:gd name="T10" fmla="*/ 153 w 153"/>
                  <a:gd name="T11" fmla="*/ 39 h 195"/>
                  <a:gd name="T12" fmla="*/ 115 w 153"/>
                  <a:gd name="T13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3" h="195">
                    <a:moveTo>
                      <a:pt x="115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153" y="195"/>
                      <a:pt x="153" y="195"/>
                      <a:pt x="153" y="195"/>
                    </a:cubicBezTo>
                    <a:cubicBezTo>
                      <a:pt x="153" y="39"/>
                      <a:pt x="153" y="39"/>
                      <a:pt x="153" y="39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0" name="Freeform 79">
                <a:extLst>
                  <a:ext uri="{FF2B5EF4-FFF2-40B4-BE49-F238E27FC236}">
                    <a16:creationId xmlns:a16="http://schemas.microsoft.com/office/drawing/2014/main" id="{539F17CE-7019-84BD-E183-4AD969F59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1700" y="2247901"/>
                <a:ext cx="142875" cy="147638"/>
              </a:xfrm>
              <a:custGeom>
                <a:avLst/>
                <a:gdLst>
                  <a:gd name="T0" fmla="*/ 0 w 90"/>
                  <a:gd name="T1" fmla="*/ 0 h 93"/>
                  <a:gd name="T2" fmla="*/ 0 w 90"/>
                  <a:gd name="T3" fmla="*/ 93 h 93"/>
                  <a:gd name="T4" fmla="*/ 90 w 90"/>
                  <a:gd name="T5" fmla="*/ 93 h 93"/>
                  <a:gd name="T6" fmla="*/ 0 w 90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93">
                    <a:moveTo>
                      <a:pt x="0" y="0"/>
                    </a:moveTo>
                    <a:lnTo>
                      <a:pt x="0" y="93"/>
                    </a:lnTo>
                    <a:lnTo>
                      <a:pt x="90" y="9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1" name="Freeform 80">
                <a:extLst>
                  <a:ext uri="{FF2B5EF4-FFF2-40B4-BE49-F238E27FC236}">
                    <a16:creationId xmlns:a16="http://schemas.microsoft.com/office/drawing/2014/main" id="{F855838B-E3CE-7BB3-502D-DE764F1866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419351"/>
                <a:ext cx="242888" cy="22225"/>
              </a:xfrm>
              <a:custGeom>
                <a:avLst/>
                <a:gdLst>
                  <a:gd name="T0" fmla="*/ 64 w 64"/>
                  <a:gd name="T1" fmla="*/ 3 h 6"/>
                  <a:gd name="T2" fmla="*/ 61 w 64"/>
                  <a:gd name="T3" fmla="*/ 6 h 6"/>
                  <a:gd name="T4" fmla="*/ 4 w 64"/>
                  <a:gd name="T5" fmla="*/ 6 h 6"/>
                  <a:gd name="T6" fmla="*/ 0 w 64"/>
                  <a:gd name="T7" fmla="*/ 3 h 6"/>
                  <a:gd name="T8" fmla="*/ 4 w 64"/>
                  <a:gd name="T9" fmla="*/ 0 h 6"/>
                  <a:gd name="T10" fmla="*/ 61 w 64"/>
                  <a:gd name="T11" fmla="*/ 0 h 6"/>
                  <a:gd name="T12" fmla="*/ 64 w 64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6">
                    <a:moveTo>
                      <a:pt x="64" y="3"/>
                    </a:moveTo>
                    <a:cubicBezTo>
                      <a:pt x="64" y="5"/>
                      <a:pt x="63" y="6"/>
                      <a:pt x="61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3" y="0"/>
                      <a:pt x="64" y="1"/>
                      <a:pt x="64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" name="Freeform 81">
                <a:extLst>
                  <a:ext uri="{FF2B5EF4-FFF2-40B4-BE49-F238E27FC236}">
                    <a16:creationId xmlns:a16="http://schemas.microsoft.com/office/drawing/2014/main" id="{E757ED09-42E8-0E89-4C5C-10FD70AF05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516188"/>
                <a:ext cx="390525" cy="23813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3" name="Freeform 82">
                <a:extLst>
                  <a:ext uri="{FF2B5EF4-FFF2-40B4-BE49-F238E27FC236}">
                    <a16:creationId xmlns:a16="http://schemas.microsoft.com/office/drawing/2014/main" id="{A4D13453-A5D5-1B39-19DC-D0D477FD23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611438"/>
                <a:ext cx="390525" cy="26988"/>
              </a:xfrm>
              <a:custGeom>
                <a:avLst/>
                <a:gdLst>
                  <a:gd name="T0" fmla="*/ 103 w 103"/>
                  <a:gd name="T1" fmla="*/ 3 h 7"/>
                  <a:gd name="T2" fmla="*/ 100 w 103"/>
                  <a:gd name="T3" fmla="*/ 7 h 7"/>
                  <a:gd name="T4" fmla="*/ 4 w 103"/>
                  <a:gd name="T5" fmla="*/ 7 h 7"/>
                  <a:gd name="T6" fmla="*/ 0 w 103"/>
                  <a:gd name="T7" fmla="*/ 3 h 7"/>
                  <a:gd name="T8" fmla="*/ 4 w 103"/>
                  <a:gd name="T9" fmla="*/ 0 h 7"/>
                  <a:gd name="T10" fmla="*/ 100 w 103"/>
                  <a:gd name="T11" fmla="*/ 0 h 7"/>
                  <a:gd name="T12" fmla="*/ 103 w 103"/>
                  <a:gd name="T13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7">
                    <a:moveTo>
                      <a:pt x="103" y="3"/>
                    </a:moveTo>
                    <a:cubicBezTo>
                      <a:pt x="103" y="5"/>
                      <a:pt x="101" y="7"/>
                      <a:pt x="100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2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48" name="Freeform 83">
                <a:extLst>
                  <a:ext uri="{FF2B5EF4-FFF2-40B4-BE49-F238E27FC236}">
                    <a16:creationId xmlns:a16="http://schemas.microsoft.com/office/drawing/2014/main" id="{F7F292A1-E8C7-CB32-1F22-0E886DDF5C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709863"/>
                <a:ext cx="390525" cy="22225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49" name="Freeform 84">
                <a:extLst>
                  <a:ext uri="{FF2B5EF4-FFF2-40B4-BE49-F238E27FC236}">
                    <a16:creationId xmlns:a16="http://schemas.microsoft.com/office/drawing/2014/main" id="{FB2B5A4B-3781-DE21-4CD1-ECEA080AB1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530225" cy="530225"/>
              </a:xfrm>
              <a:custGeom>
                <a:avLst/>
                <a:gdLst>
                  <a:gd name="T0" fmla="*/ 131 w 140"/>
                  <a:gd name="T1" fmla="*/ 90 h 140"/>
                  <a:gd name="T2" fmla="*/ 51 w 140"/>
                  <a:gd name="T3" fmla="*/ 11 h 140"/>
                  <a:gd name="T4" fmla="*/ 49 w 140"/>
                  <a:gd name="T5" fmla="*/ 9 h 140"/>
                  <a:gd name="T6" fmla="*/ 11 w 140"/>
                  <a:gd name="T7" fmla="*/ 11 h 140"/>
                  <a:gd name="T8" fmla="*/ 11 w 140"/>
                  <a:gd name="T9" fmla="*/ 11 h 140"/>
                  <a:gd name="T10" fmla="*/ 9 w 140"/>
                  <a:gd name="T11" fmla="*/ 49 h 140"/>
                  <a:gd name="T12" fmla="*/ 11 w 140"/>
                  <a:gd name="T13" fmla="*/ 52 h 140"/>
                  <a:gd name="T14" fmla="*/ 90 w 140"/>
                  <a:gd name="T15" fmla="*/ 131 h 140"/>
                  <a:gd name="T16" fmla="*/ 122 w 140"/>
                  <a:gd name="T17" fmla="*/ 140 h 140"/>
                  <a:gd name="T18" fmla="*/ 129 w 140"/>
                  <a:gd name="T19" fmla="*/ 129 h 140"/>
                  <a:gd name="T20" fmla="*/ 140 w 140"/>
                  <a:gd name="T21" fmla="*/ 122 h 140"/>
                  <a:gd name="T22" fmla="*/ 131 w 140"/>
                  <a:gd name="T23" fmla="*/ 9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0" h="140">
                    <a:moveTo>
                      <a:pt x="131" y="90"/>
                    </a:moveTo>
                    <a:cubicBezTo>
                      <a:pt x="51" y="11"/>
                      <a:pt x="51" y="11"/>
                      <a:pt x="51" y="11"/>
                    </a:cubicBezTo>
                    <a:cubicBezTo>
                      <a:pt x="51" y="10"/>
                      <a:pt x="50" y="10"/>
                      <a:pt x="49" y="9"/>
                    </a:cubicBezTo>
                    <a:cubicBezTo>
                      <a:pt x="38" y="0"/>
                      <a:pt x="22" y="0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0" y="22"/>
                      <a:pt x="0" y="38"/>
                      <a:pt x="9" y="49"/>
                    </a:cubicBezTo>
                    <a:cubicBezTo>
                      <a:pt x="9" y="50"/>
                      <a:pt x="10" y="51"/>
                      <a:pt x="11" y="52"/>
                    </a:cubicBezTo>
                    <a:cubicBezTo>
                      <a:pt x="90" y="131"/>
                      <a:pt x="90" y="131"/>
                      <a:pt x="90" y="131"/>
                    </a:cubicBezTo>
                    <a:cubicBezTo>
                      <a:pt x="122" y="140"/>
                      <a:pt x="122" y="140"/>
                      <a:pt x="122" y="140"/>
                    </a:cubicBezTo>
                    <a:cubicBezTo>
                      <a:pt x="123" y="136"/>
                      <a:pt x="125" y="132"/>
                      <a:pt x="129" y="129"/>
                    </a:cubicBezTo>
                    <a:cubicBezTo>
                      <a:pt x="132" y="126"/>
                      <a:pt x="136" y="123"/>
                      <a:pt x="140" y="122"/>
                    </a:cubicBezTo>
                    <a:lnTo>
                      <a:pt x="131" y="90"/>
                    </a:lnTo>
                    <a:close/>
                  </a:path>
                </a:pathLst>
              </a:custGeom>
              <a:solidFill>
                <a:srgbClr val="F4D0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1" name="Freeform 85">
                <a:extLst>
                  <a:ext uri="{FF2B5EF4-FFF2-40B4-BE49-F238E27FC236}">
                    <a16:creationId xmlns:a16="http://schemas.microsoft.com/office/drawing/2014/main" id="{FD9A3745-24D7-1345-57D2-778313F59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185738" cy="185738"/>
              </a:xfrm>
              <a:custGeom>
                <a:avLst/>
                <a:gdLst>
                  <a:gd name="T0" fmla="*/ 49 w 49"/>
                  <a:gd name="T1" fmla="*/ 9 h 49"/>
                  <a:gd name="T2" fmla="*/ 9 w 49"/>
                  <a:gd name="T3" fmla="*/ 49 h 49"/>
                  <a:gd name="T4" fmla="*/ 11 w 49"/>
                  <a:gd name="T5" fmla="*/ 11 h 49"/>
                  <a:gd name="T6" fmla="*/ 11 w 49"/>
                  <a:gd name="T7" fmla="*/ 11 h 49"/>
                  <a:gd name="T8" fmla="*/ 49 w 49"/>
                  <a:gd name="T9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49" y="9"/>
                    </a:moveTo>
                    <a:cubicBezTo>
                      <a:pt x="9" y="49"/>
                      <a:pt x="9" y="49"/>
                      <a:pt x="9" y="49"/>
                    </a:cubicBezTo>
                    <a:cubicBezTo>
                      <a:pt x="0" y="38"/>
                      <a:pt x="0" y="2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22" y="0"/>
                      <a:pt x="38" y="0"/>
                      <a:pt x="49" y="9"/>
                    </a:cubicBezTo>
                    <a:close/>
                  </a:path>
                </a:pathLst>
              </a:custGeom>
              <a:solidFill>
                <a:srgbClr val="F7B4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2" name="Freeform 86">
                <a:extLst>
                  <a:ext uri="{FF2B5EF4-FFF2-40B4-BE49-F238E27FC236}">
                    <a16:creationId xmlns:a16="http://schemas.microsoft.com/office/drawing/2014/main" id="{A11BAF3D-AC8D-8BDA-CD3A-5AB97407F4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7075" y="2800351"/>
                <a:ext cx="90488" cy="90488"/>
              </a:xfrm>
              <a:custGeom>
                <a:avLst/>
                <a:gdLst>
                  <a:gd name="T0" fmla="*/ 18 w 24"/>
                  <a:gd name="T1" fmla="*/ 0 h 24"/>
                  <a:gd name="T2" fmla="*/ 24 w 24"/>
                  <a:gd name="T3" fmla="*/ 21 h 24"/>
                  <a:gd name="T4" fmla="*/ 20 w 24"/>
                  <a:gd name="T5" fmla="*/ 24 h 24"/>
                  <a:gd name="T6" fmla="*/ 0 w 24"/>
                  <a:gd name="T7" fmla="*/ 18 h 24"/>
                  <a:gd name="T8" fmla="*/ 7 w 24"/>
                  <a:gd name="T9" fmla="*/ 7 h 24"/>
                  <a:gd name="T10" fmla="*/ 18 w 24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24">
                    <a:moveTo>
                      <a:pt x="18" y="0"/>
                    </a:moveTo>
                    <a:cubicBezTo>
                      <a:pt x="24" y="21"/>
                      <a:pt x="24" y="21"/>
                      <a:pt x="24" y="21"/>
                    </a:cubicBezTo>
                    <a:cubicBezTo>
                      <a:pt x="24" y="23"/>
                      <a:pt x="22" y="24"/>
                      <a:pt x="20" y="2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1" y="14"/>
                      <a:pt x="3" y="10"/>
                      <a:pt x="7" y="7"/>
                    </a:cubicBezTo>
                    <a:cubicBezTo>
                      <a:pt x="10" y="4"/>
                      <a:pt x="14" y="1"/>
                      <a:pt x="18" y="0"/>
                    </a:cubicBez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3" name="Freeform 87">
                <a:extLst>
                  <a:ext uri="{FF2B5EF4-FFF2-40B4-BE49-F238E27FC236}">
                    <a16:creationId xmlns:a16="http://schemas.microsoft.com/office/drawing/2014/main" id="{E60FC808-121D-C97D-A754-0E75EF8CC5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03476"/>
                <a:ext cx="434975" cy="427038"/>
              </a:xfrm>
              <a:custGeom>
                <a:avLst/>
                <a:gdLst>
                  <a:gd name="T0" fmla="*/ 114 w 115"/>
                  <a:gd name="T1" fmla="*/ 73 h 113"/>
                  <a:gd name="T2" fmla="*/ 41 w 115"/>
                  <a:gd name="T3" fmla="*/ 0 h 113"/>
                  <a:gd name="T4" fmla="*/ 0 w 115"/>
                  <a:gd name="T5" fmla="*/ 40 h 113"/>
                  <a:gd name="T6" fmla="*/ 0 w 115"/>
                  <a:gd name="T7" fmla="*/ 40 h 113"/>
                  <a:gd name="T8" fmla="*/ 73 w 115"/>
                  <a:gd name="T9" fmla="*/ 113 h 113"/>
                  <a:gd name="T10" fmla="*/ 73 w 115"/>
                  <a:gd name="T11" fmla="*/ 113 h 113"/>
                  <a:gd name="T12" fmla="*/ 76 w 115"/>
                  <a:gd name="T13" fmla="*/ 95 h 113"/>
                  <a:gd name="T14" fmla="*/ 94 w 115"/>
                  <a:gd name="T15" fmla="*/ 94 h 113"/>
                  <a:gd name="T16" fmla="*/ 94 w 115"/>
                  <a:gd name="T17" fmla="*/ 93 h 113"/>
                  <a:gd name="T18" fmla="*/ 94 w 115"/>
                  <a:gd name="T19" fmla="*/ 93 h 113"/>
                  <a:gd name="T20" fmla="*/ 96 w 115"/>
                  <a:gd name="T21" fmla="*/ 74 h 113"/>
                  <a:gd name="T22" fmla="*/ 114 w 115"/>
                  <a:gd name="T23" fmla="*/ 73 h 113"/>
                  <a:gd name="T24" fmla="*/ 114 w 115"/>
                  <a:gd name="T25" fmla="*/ 73 h 113"/>
                  <a:gd name="T26" fmla="*/ 114 w 115"/>
                  <a:gd name="T27" fmla="*/ 7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13">
                    <a:moveTo>
                      <a:pt x="114" y="73"/>
                    </a:moveTo>
                    <a:cubicBezTo>
                      <a:pt x="108" y="67"/>
                      <a:pt x="41" y="0"/>
                      <a:pt x="41" y="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64" y="104"/>
                      <a:pt x="73" y="113"/>
                    </a:cubicBezTo>
                    <a:cubicBezTo>
                      <a:pt x="73" y="113"/>
                      <a:pt x="73" y="113"/>
                      <a:pt x="73" y="113"/>
                    </a:cubicBezTo>
                    <a:cubicBezTo>
                      <a:pt x="70" y="108"/>
                      <a:pt x="71" y="100"/>
                      <a:pt x="76" y="95"/>
                    </a:cubicBezTo>
                    <a:cubicBezTo>
                      <a:pt x="81" y="90"/>
                      <a:pt x="89" y="90"/>
                      <a:pt x="94" y="94"/>
                    </a:cubicBezTo>
                    <a:cubicBezTo>
                      <a:pt x="94" y="94"/>
                      <a:pt x="94" y="94"/>
                      <a:pt x="94" y="93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0" y="88"/>
                      <a:pt x="90" y="80"/>
                      <a:pt x="96" y="74"/>
                    </a:cubicBezTo>
                    <a:cubicBezTo>
                      <a:pt x="101" y="69"/>
                      <a:pt x="109" y="69"/>
                      <a:pt x="114" y="73"/>
                    </a:cubicBezTo>
                    <a:cubicBezTo>
                      <a:pt x="114" y="73"/>
                      <a:pt x="114" y="73"/>
                      <a:pt x="114" y="73"/>
                    </a:cubicBezTo>
                    <a:cubicBezTo>
                      <a:pt x="115" y="73"/>
                      <a:pt x="115" y="73"/>
                      <a:pt x="114" y="73"/>
                    </a:cubicBez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4" name="Freeform 88">
                <a:extLst>
                  <a:ext uri="{FF2B5EF4-FFF2-40B4-BE49-F238E27FC236}">
                    <a16:creationId xmlns:a16="http://schemas.microsoft.com/office/drawing/2014/main" id="{80AF5BBB-3F42-8A53-68EE-B256655D65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0038" y="2373313"/>
                <a:ext cx="180975" cy="180975"/>
              </a:xfrm>
              <a:custGeom>
                <a:avLst/>
                <a:gdLst>
                  <a:gd name="T0" fmla="*/ 17 w 114"/>
                  <a:gd name="T1" fmla="*/ 114 h 114"/>
                  <a:gd name="T2" fmla="*/ 0 w 114"/>
                  <a:gd name="T3" fmla="*/ 98 h 114"/>
                  <a:gd name="T4" fmla="*/ 95 w 114"/>
                  <a:gd name="T5" fmla="*/ 0 h 114"/>
                  <a:gd name="T6" fmla="*/ 114 w 114"/>
                  <a:gd name="T7" fmla="*/ 19 h 114"/>
                  <a:gd name="T8" fmla="*/ 17 w 114"/>
                  <a:gd name="T9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14">
                    <a:moveTo>
                      <a:pt x="17" y="114"/>
                    </a:moveTo>
                    <a:lnTo>
                      <a:pt x="0" y="98"/>
                    </a:lnTo>
                    <a:lnTo>
                      <a:pt x="95" y="0"/>
                    </a:lnTo>
                    <a:lnTo>
                      <a:pt x="114" y="19"/>
                    </a:lnTo>
                    <a:lnTo>
                      <a:pt x="17" y="114"/>
                    </a:lnTo>
                    <a:close/>
                  </a:path>
                </a:pathLst>
              </a:custGeom>
              <a:solidFill>
                <a:srgbClr val="FACB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5" name="Freeform 89">
                <a:extLst>
                  <a:ext uri="{FF2B5EF4-FFF2-40B4-BE49-F238E27FC236}">
                    <a16:creationId xmlns:a16="http://schemas.microsoft.com/office/drawing/2014/main" id="{A25547B0-686A-956F-3900-14FFE4890E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79676"/>
                <a:ext cx="355600" cy="350838"/>
              </a:xfrm>
              <a:custGeom>
                <a:avLst/>
                <a:gdLst>
                  <a:gd name="T0" fmla="*/ 0 w 94"/>
                  <a:gd name="T1" fmla="*/ 20 h 93"/>
                  <a:gd name="T2" fmla="*/ 73 w 94"/>
                  <a:gd name="T3" fmla="*/ 93 h 93"/>
                  <a:gd name="T4" fmla="*/ 73 w 94"/>
                  <a:gd name="T5" fmla="*/ 93 h 93"/>
                  <a:gd name="T6" fmla="*/ 76 w 94"/>
                  <a:gd name="T7" fmla="*/ 75 h 93"/>
                  <a:gd name="T8" fmla="*/ 94 w 94"/>
                  <a:gd name="T9" fmla="*/ 74 h 93"/>
                  <a:gd name="T10" fmla="*/ 94 w 94"/>
                  <a:gd name="T11" fmla="*/ 73 h 93"/>
                  <a:gd name="T12" fmla="*/ 21 w 94"/>
                  <a:gd name="T13" fmla="*/ 0 h 93"/>
                  <a:gd name="T14" fmla="*/ 0 w 94"/>
                  <a:gd name="T15" fmla="*/ 2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4" h="93">
                    <a:moveTo>
                      <a:pt x="0" y="20"/>
                    </a:moveTo>
                    <a:cubicBezTo>
                      <a:pt x="0" y="20"/>
                      <a:pt x="64" y="84"/>
                      <a:pt x="73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0" y="88"/>
                      <a:pt x="71" y="80"/>
                      <a:pt x="76" y="75"/>
                    </a:cubicBezTo>
                    <a:cubicBezTo>
                      <a:pt x="81" y="70"/>
                      <a:pt x="89" y="70"/>
                      <a:pt x="94" y="74"/>
                    </a:cubicBezTo>
                    <a:cubicBezTo>
                      <a:pt x="94" y="74"/>
                      <a:pt x="94" y="73"/>
                      <a:pt x="94" y="73"/>
                    </a:cubicBezTo>
                    <a:cubicBezTo>
                      <a:pt x="21" y="0"/>
                      <a:pt x="21" y="0"/>
                      <a:pt x="21" y="0"/>
                    </a:cubicBez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2056" name="TextBox 2055">
              <a:extLst>
                <a:ext uri="{FF2B5EF4-FFF2-40B4-BE49-F238E27FC236}">
                  <a16:creationId xmlns:a16="http://schemas.microsoft.com/office/drawing/2014/main" id="{4E3BEE08-68F9-4676-61D9-F3EBC6C3D05C}"/>
                </a:ext>
              </a:extLst>
            </p:cNvPr>
            <p:cNvSpPr txBox="1"/>
            <p:nvPr/>
          </p:nvSpPr>
          <p:spPr>
            <a:xfrm>
              <a:off x="10461679" y="244286"/>
              <a:ext cx="114326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mo</a:t>
              </a:r>
            </a:p>
          </p:txBody>
        </p:sp>
      </p:grpSp>
      <p:sp>
        <p:nvSpPr>
          <p:cNvPr id="2058" name="Arrow: Right 2057">
            <a:extLst>
              <a:ext uri="{FF2B5EF4-FFF2-40B4-BE49-F238E27FC236}">
                <a16:creationId xmlns:a16="http://schemas.microsoft.com/office/drawing/2014/main" id="{6DE964B7-68B8-7CA4-846F-7BF2F75CFE7D}"/>
              </a:ext>
            </a:extLst>
          </p:cNvPr>
          <p:cNvSpPr/>
          <p:nvPr/>
        </p:nvSpPr>
        <p:spPr>
          <a:xfrm>
            <a:off x="4638763" y="4031701"/>
            <a:ext cx="314089" cy="152389"/>
          </a:xfrm>
          <a:custGeom>
            <a:avLst/>
            <a:gdLst>
              <a:gd name="connsiteX0" fmla="*/ 0 w 314089"/>
              <a:gd name="connsiteY0" fmla="*/ 38097 h 152389"/>
              <a:gd name="connsiteX1" fmla="*/ 202594 w 314089"/>
              <a:gd name="connsiteY1" fmla="*/ 38097 h 152389"/>
              <a:gd name="connsiteX2" fmla="*/ 202594 w 314089"/>
              <a:gd name="connsiteY2" fmla="*/ 0 h 152389"/>
              <a:gd name="connsiteX3" fmla="*/ 314089 w 314089"/>
              <a:gd name="connsiteY3" fmla="*/ 76195 h 152389"/>
              <a:gd name="connsiteX4" fmla="*/ 202594 w 314089"/>
              <a:gd name="connsiteY4" fmla="*/ 152389 h 152389"/>
              <a:gd name="connsiteX5" fmla="*/ 202594 w 314089"/>
              <a:gd name="connsiteY5" fmla="*/ 114292 h 152389"/>
              <a:gd name="connsiteX6" fmla="*/ 0 w 314089"/>
              <a:gd name="connsiteY6" fmla="*/ 114292 h 152389"/>
              <a:gd name="connsiteX7" fmla="*/ 0 w 314089"/>
              <a:gd name="connsiteY7" fmla="*/ 38097 h 152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4089" h="152389" extrusionOk="0">
                <a:moveTo>
                  <a:pt x="0" y="38097"/>
                </a:moveTo>
                <a:cubicBezTo>
                  <a:pt x="52967" y="41992"/>
                  <a:pt x="140330" y="35096"/>
                  <a:pt x="202594" y="38097"/>
                </a:cubicBezTo>
                <a:cubicBezTo>
                  <a:pt x="203720" y="29278"/>
                  <a:pt x="201487" y="12217"/>
                  <a:pt x="202594" y="0"/>
                </a:cubicBezTo>
                <a:cubicBezTo>
                  <a:pt x="250704" y="31894"/>
                  <a:pt x="285487" y="59697"/>
                  <a:pt x="314089" y="76195"/>
                </a:cubicBezTo>
                <a:cubicBezTo>
                  <a:pt x="263585" y="116079"/>
                  <a:pt x="224767" y="135612"/>
                  <a:pt x="202594" y="152389"/>
                </a:cubicBezTo>
                <a:cubicBezTo>
                  <a:pt x="201837" y="143513"/>
                  <a:pt x="201365" y="122824"/>
                  <a:pt x="202594" y="114292"/>
                </a:cubicBezTo>
                <a:cubicBezTo>
                  <a:pt x="157247" y="123016"/>
                  <a:pt x="98127" y="112087"/>
                  <a:pt x="0" y="114292"/>
                </a:cubicBezTo>
                <a:cubicBezTo>
                  <a:pt x="-3058" y="87297"/>
                  <a:pt x="465" y="64655"/>
                  <a:pt x="0" y="38097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>
                      <a:gd name="adj1" fmla="val 50000"/>
                      <a:gd name="adj2" fmla="val 73165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9" name="Arrow: Right 2058">
            <a:extLst>
              <a:ext uri="{FF2B5EF4-FFF2-40B4-BE49-F238E27FC236}">
                <a16:creationId xmlns:a16="http://schemas.microsoft.com/office/drawing/2014/main" id="{F801CB75-769C-D145-3164-8BCA11DA197C}"/>
              </a:ext>
            </a:extLst>
          </p:cNvPr>
          <p:cNvSpPr/>
          <p:nvPr/>
        </p:nvSpPr>
        <p:spPr>
          <a:xfrm>
            <a:off x="7530721" y="4397061"/>
            <a:ext cx="1109406" cy="234205"/>
          </a:xfrm>
          <a:custGeom>
            <a:avLst/>
            <a:gdLst>
              <a:gd name="connsiteX0" fmla="*/ 0 w 1109406"/>
              <a:gd name="connsiteY0" fmla="*/ 58551 h 234205"/>
              <a:gd name="connsiteX1" fmla="*/ 486229 w 1109406"/>
              <a:gd name="connsiteY1" fmla="*/ 58551 h 234205"/>
              <a:gd name="connsiteX2" fmla="*/ 992304 w 1109406"/>
              <a:gd name="connsiteY2" fmla="*/ 58551 h 234205"/>
              <a:gd name="connsiteX3" fmla="*/ 992304 w 1109406"/>
              <a:gd name="connsiteY3" fmla="*/ 0 h 234205"/>
              <a:gd name="connsiteX4" fmla="*/ 1109406 w 1109406"/>
              <a:gd name="connsiteY4" fmla="*/ 117103 h 234205"/>
              <a:gd name="connsiteX5" fmla="*/ 992304 w 1109406"/>
              <a:gd name="connsiteY5" fmla="*/ 234205 h 234205"/>
              <a:gd name="connsiteX6" fmla="*/ 992304 w 1109406"/>
              <a:gd name="connsiteY6" fmla="*/ 175654 h 234205"/>
              <a:gd name="connsiteX7" fmla="*/ 515998 w 1109406"/>
              <a:gd name="connsiteY7" fmla="*/ 175654 h 234205"/>
              <a:gd name="connsiteX8" fmla="*/ 0 w 1109406"/>
              <a:gd name="connsiteY8" fmla="*/ 175654 h 234205"/>
              <a:gd name="connsiteX9" fmla="*/ 0 w 1109406"/>
              <a:gd name="connsiteY9" fmla="*/ 58551 h 234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9406" h="234205" extrusionOk="0">
                <a:moveTo>
                  <a:pt x="0" y="58551"/>
                </a:moveTo>
                <a:cubicBezTo>
                  <a:pt x="222347" y="37923"/>
                  <a:pt x="310675" y="38927"/>
                  <a:pt x="486229" y="58551"/>
                </a:cubicBezTo>
                <a:cubicBezTo>
                  <a:pt x="661783" y="78175"/>
                  <a:pt x="859783" y="63824"/>
                  <a:pt x="992304" y="58551"/>
                </a:cubicBezTo>
                <a:cubicBezTo>
                  <a:pt x="993020" y="41256"/>
                  <a:pt x="990147" y="15159"/>
                  <a:pt x="992304" y="0"/>
                </a:cubicBezTo>
                <a:cubicBezTo>
                  <a:pt x="1018788" y="24798"/>
                  <a:pt x="1050788" y="67063"/>
                  <a:pt x="1109406" y="117103"/>
                </a:cubicBezTo>
                <a:cubicBezTo>
                  <a:pt x="1072629" y="161142"/>
                  <a:pt x="1026658" y="189317"/>
                  <a:pt x="992304" y="234205"/>
                </a:cubicBezTo>
                <a:cubicBezTo>
                  <a:pt x="994041" y="222130"/>
                  <a:pt x="993488" y="188290"/>
                  <a:pt x="992304" y="175654"/>
                </a:cubicBezTo>
                <a:cubicBezTo>
                  <a:pt x="803633" y="186756"/>
                  <a:pt x="645309" y="195690"/>
                  <a:pt x="515998" y="175654"/>
                </a:cubicBezTo>
                <a:cubicBezTo>
                  <a:pt x="386687" y="155618"/>
                  <a:pt x="107316" y="177347"/>
                  <a:pt x="0" y="175654"/>
                </a:cubicBezTo>
                <a:cubicBezTo>
                  <a:pt x="-3119" y="127483"/>
                  <a:pt x="4360" y="112378"/>
                  <a:pt x="0" y="58551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F1492CF-C318-1C39-AB36-E7509D4A782A}"/>
              </a:ext>
            </a:extLst>
          </p:cNvPr>
          <p:cNvSpPr txBox="1"/>
          <p:nvPr/>
        </p:nvSpPr>
        <p:spPr>
          <a:xfrm>
            <a:off x="630962" y="4346981"/>
            <a:ext cx="40359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</a:t>
            </a:r>
            <a:r>
              <a:rPr lang="en-US" dirty="0" err="1"/>
              <a:t>templateSpecs</a:t>
            </a:r>
            <a:r>
              <a:rPr lang="en-US" dirty="0"/>
              <a:t>/&lt;name&gt;/&lt;name&gt;.</a:t>
            </a:r>
            <a:r>
              <a:rPr lang="en-US" dirty="0" err="1"/>
              <a:t>ui.json</a:t>
            </a:r>
            <a:endParaRPr lang="en-US" dirty="0"/>
          </a:p>
        </p:txBody>
      </p:sp>
      <p:pic>
        <p:nvPicPr>
          <p:cNvPr id="13" name="Picture 12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23621939-9A58-F6EF-A9AD-C5EBF9FB6CF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8355" y="2554365"/>
            <a:ext cx="1963754" cy="1963754"/>
          </a:xfrm>
          <a:prstGeom prst="rect">
            <a:avLst/>
          </a:prstGeom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66CC43BA-1AD4-5E41-8824-048E6EB82BF1}"/>
              </a:ext>
            </a:extLst>
          </p:cNvPr>
          <p:cNvSpPr/>
          <p:nvPr/>
        </p:nvSpPr>
        <p:spPr>
          <a:xfrm>
            <a:off x="8701208" y="4365730"/>
            <a:ext cx="2209153" cy="999892"/>
          </a:xfrm>
          <a:custGeom>
            <a:avLst/>
            <a:gdLst>
              <a:gd name="connsiteX0" fmla="*/ 0 w 2209153"/>
              <a:gd name="connsiteY0" fmla="*/ 166652 h 999892"/>
              <a:gd name="connsiteX1" fmla="*/ 166652 w 2209153"/>
              <a:gd name="connsiteY1" fmla="*/ 0 h 999892"/>
              <a:gd name="connsiteX2" fmla="*/ 829452 w 2209153"/>
              <a:gd name="connsiteY2" fmla="*/ 0 h 999892"/>
              <a:gd name="connsiteX3" fmla="*/ 1435976 w 2209153"/>
              <a:gd name="connsiteY3" fmla="*/ 0 h 999892"/>
              <a:gd name="connsiteX4" fmla="*/ 2042501 w 2209153"/>
              <a:gd name="connsiteY4" fmla="*/ 0 h 999892"/>
              <a:gd name="connsiteX5" fmla="*/ 2209153 w 2209153"/>
              <a:gd name="connsiteY5" fmla="*/ 166652 h 999892"/>
              <a:gd name="connsiteX6" fmla="*/ 2209153 w 2209153"/>
              <a:gd name="connsiteY6" fmla="*/ 833240 h 999892"/>
              <a:gd name="connsiteX7" fmla="*/ 2042501 w 2209153"/>
              <a:gd name="connsiteY7" fmla="*/ 999892 h 999892"/>
              <a:gd name="connsiteX8" fmla="*/ 1454735 w 2209153"/>
              <a:gd name="connsiteY8" fmla="*/ 999892 h 999892"/>
              <a:gd name="connsiteX9" fmla="*/ 829452 w 2209153"/>
              <a:gd name="connsiteY9" fmla="*/ 999892 h 999892"/>
              <a:gd name="connsiteX10" fmla="*/ 166652 w 2209153"/>
              <a:gd name="connsiteY10" fmla="*/ 999892 h 999892"/>
              <a:gd name="connsiteX11" fmla="*/ 0 w 2209153"/>
              <a:gd name="connsiteY11" fmla="*/ 833240 h 999892"/>
              <a:gd name="connsiteX12" fmla="*/ 0 w 2209153"/>
              <a:gd name="connsiteY12" fmla="*/ 166652 h 999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209153" h="999892" extrusionOk="0">
                <a:moveTo>
                  <a:pt x="0" y="166652"/>
                </a:moveTo>
                <a:cubicBezTo>
                  <a:pt x="-5816" y="71026"/>
                  <a:pt x="55833" y="7048"/>
                  <a:pt x="166652" y="0"/>
                </a:cubicBezTo>
                <a:cubicBezTo>
                  <a:pt x="412868" y="-29637"/>
                  <a:pt x="501886" y="14089"/>
                  <a:pt x="829452" y="0"/>
                </a:cubicBezTo>
                <a:cubicBezTo>
                  <a:pt x="1157018" y="-14089"/>
                  <a:pt x="1298998" y="-3346"/>
                  <a:pt x="1435976" y="0"/>
                </a:cubicBezTo>
                <a:cubicBezTo>
                  <a:pt x="1572954" y="3346"/>
                  <a:pt x="1875459" y="21759"/>
                  <a:pt x="2042501" y="0"/>
                </a:cubicBezTo>
                <a:cubicBezTo>
                  <a:pt x="2128385" y="-19826"/>
                  <a:pt x="2210752" y="68697"/>
                  <a:pt x="2209153" y="166652"/>
                </a:cubicBezTo>
                <a:cubicBezTo>
                  <a:pt x="2212572" y="350840"/>
                  <a:pt x="2204549" y="557198"/>
                  <a:pt x="2209153" y="833240"/>
                </a:cubicBezTo>
                <a:cubicBezTo>
                  <a:pt x="2208052" y="914776"/>
                  <a:pt x="2122198" y="1017044"/>
                  <a:pt x="2042501" y="999892"/>
                </a:cubicBezTo>
                <a:cubicBezTo>
                  <a:pt x="1814527" y="1006641"/>
                  <a:pt x="1713823" y="1009123"/>
                  <a:pt x="1454735" y="999892"/>
                </a:cubicBezTo>
                <a:cubicBezTo>
                  <a:pt x="1195647" y="990661"/>
                  <a:pt x="978441" y="1002587"/>
                  <a:pt x="829452" y="999892"/>
                </a:cubicBezTo>
                <a:cubicBezTo>
                  <a:pt x="680463" y="997197"/>
                  <a:pt x="332492" y="1030518"/>
                  <a:pt x="166652" y="999892"/>
                </a:cubicBezTo>
                <a:cubicBezTo>
                  <a:pt x="78123" y="996424"/>
                  <a:pt x="10822" y="918301"/>
                  <a:pt x="0" y="833240"/>
                </a:cubicBezTo>
                <a:cubicBezTo>
                  <a:pt x="-13238" y="514479"/>
                  <a:pt x="19208" y="483104"/>
                  <a:pt x="0" y="166652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dirty="0">
                <a:solidFill>
                  <a:schemeClr val="tx1"/>
                </a:solidFill>
              </a:rPr>
              <a:t>Platform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322D5DCA-C5D2-2841-8432-314B07E4377F}"/>
              </a:ext>
            </a:extLst>
          </p:cNvPr>
          <p:cNvSpPr/>
          <p:nvPr/>
        </p:nvSpPr>
        <p:spPr>
          <a:xfrm>
            <a:off x="9120789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 w="381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613AD76-FF56-9D30-94FB-8009D3A31EB5}"/>
              </a:ext>
            </a:extLst>
          </p:cNvPr>
          <p:cNvSpPr/>
          <p:nvPr/>
        </p:nvSpPr>
        <p:spPr>
          <a:xfrm>
            <a:off x="9974706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FBF59936-22B5-CD21-A46C-D65F1BBFA4C2}"/>
              </a:ext>
            </a:extLst>
          </p:cNvPr>
          <p:cNvSpPr/>
          <p:nvPr/>
        </p:nvSpPr>
        <p:spPr>
          <a:xfrm>
            <a:off x="10828623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44D93E-75BD-25D4-DC4A-3F4D2F641C07}"/>
              </a:ext>
            </a:extLst>
          </p:cNvPr>
          <p:cNvGrpSpPr/>
          <p:nvPr/>
        </p:nvGrpSpPr>
        <p:grpSpPr>
          <a:xfrm>
            <a:off x="8701208" y="4321032"/>
            <a:ext cx="1025861" cy="1089287"/>
            <a:chOff x="6618867" y="3226748"/>
            <a:chExt cx="1025861" cy="1089287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1276303E-E993-7E2D-B7E2-691DFBAB393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8572" y="3226748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F3D224C1-68BD-D277-D914-D2ABE356921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8686" y="3315374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07E65C55-E683-E636-A545-7CA58D5E090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8867" y="3429000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68C8C5F5-3012-6AF6-F015-9FE9157C5661}"/>
              </a:ext>
            </a:extLst>
          </p:cNvPr>
          <p:cNvSpPr/>
          <p:nvPr/>
        </p:nvSpPr>
        <p:spPr>
          <a:xfrm>
            <a:off x="9964906" y="4845404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 w="38100">
            <a:solidFill>
              <a:srgbClr val="00B050"/>
            </a:solidFill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Hub</a:t>
            </a: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DE1BAC05-780A-F182-180D-2016DD9E0341}"/>
              </a:ext>
            </a:extLst>
          </p:cNvPr>
          <p:cNvSpPr/>
          <p:nvPr/>
        </p:nvSpPr>
        <p:spPr>
          <a:xfrm rot="3660239" flipV="1">
            <a:off x="8449089" y="3772749"/>
            <a:ext cx="1039346" cy="197752"/>
          </a:xfrm>
          <a:custGeom>
            <a:avLst/>
            <a:gdLst>
              <a:gd name="connsiteX0" fmla="*/ 0 w 1039346"/>
              <a:gd name="connsiteY0" fmla="*/ 49438 h 197752"/>
              <a:gd name="connsiteX1" fmla="*/ 460830 w 1039346"/>
              <a:gd name="connsiteY1" fmla="*/ 49438 h 197752"/>
              <a:gd name="connsiteX2" fmla="*/ 940470 w 1039346"/>
              <a:gd name="connsiteY2" fmla="*/ 49438 h 197752"/>
              <a:gd name="connsiteX3" fmla="*/ 940470 w 1039346"/>
              <a:gd name="connsiteY3" fmla="*/ 0 h 197752"/>
              <a:gd name="connsiteX4" fmla="*/ 1039346 w 1039346"/>
              <a:gd name="connsiteY4" fmla="*/ 98876 h 197752"/>
              <a:gd name="connsiteX5" fmla="*/ 940470 w 1039346"/>
              <a:gd name="connsiteY5" fmla="*/ 197752 h 197752"/>
              <a:gd name="connsiteX6" fmla="*/ 940470 w 1039346"/>
              <a:gd name="connsiteY6" fmla="*/ 148314 h 197752"/>
              <a:gd name="connsiteX7" fmla="*/ 489044 w 1039346"/>
              <a:gd name="connsiteY7" fmla="*/ 148314 h 197752"/>
              <a:gd name="connsiteX8" fmla="*/ 0 w 1039346"/>
              <a:gd name="connsiteY8" fmla="*/ 148314 h 197752"/>
              <a:gd name="connsiteX9" fmla="*/ 0 w 1039346"/>
              <a:gd name="connsiteY9" fmla="*/ 49438 h 19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39346" h="197752" extrusionOk="0">
                <a:moveTo>
                  <a:pt x="0" y="49438"/>
                </a:moveTo>
                <a:cubicBezTo>
                  <a:pt x="134561" y="46031"/>
                  <a:pt x="360177" y="30611"/>
                  <a:pt x="460830" y="49438"/>
                </a:cubicBezTo>
                <a:cubicBezTo>
                  <a:pt x="561483" y="68266"/>
                  <a:pt x="808301" y="47673"/>
                  <a:pt x="940470" y="49438"/>
                </a:cubicBezTo>
                <a:cubicBezTo>
                  <a:pt x="941521" y="27830"/>
                  <a:pt x="941479" y="23659"/>
                  <a:pt x="940470" y="0"/>
                </a:cubicBezTo>
                <a:cubicBezTo>
                  <a:pt x="969187" y="24837"/>
                  <a:pt x="1016235" y="71130"/>
                  <a:pt x="1039346" y="98876"/>
                </a:cubicBezTo>
                <a:cubicBezTo>
                  <a:pt x="989391" y="141041"/>
                  <a:pt x="972141" y="173368"/>
                  <a:pt x="940470" y="197752"/>
                </a:cubicBezTo>
                <a:cubicBezTo>
                  <a:pt x="939977" y="180109"/>
                  <a:pt x="938363" y="162894"/>
                  <a:pt x="940470" y="148314"/>
                </a:cubicBezTo>
                <a:cubicBezTo>
                  <a:pt x="818971" y="135736"/>
                  <a:pt x="643147" y="166443"/>
                  <a:pt x="489044" y="148314"/>
                </a:cubicBezTo>
                <a:cubicBezTo>
                  <a:pt x="334941" y="130185"/>
                  <a:pt x="215146" y="162363"/>
                  <a:pt x="0" y="148314"/>
                </a:cubicBezTo>
                <a:cubicBezTo>
                  <a:pt x="1981" y="119112"/>
                  <a:pt x="-3662" y="72653"/>
                  <a:pt x="0" y="49438"/>
                </a:cubicBezTo>
                <a:close/>
              </a:path>
            </a:pathLst>
          </a:custGeom>
          <a:noFill/>
          <a:ln w="254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7842B163-C024-2021-2D8C-46F8569847FD}"/>
              </a:ext>
            </a:extLst>
          </p:cNvPr>
          <p:cNvSpPr/>
          <p:nvPr/>
        </p:nvSpPr>
        <p:spPr>
          <a:xfrm rot="3480107">
            <a:off x="9461353" y="5240562"/>
            <a:ext cx="388315" cy="237515"/>
          </a:xfrm>
          <a:custGeom>
            <a:avLst/>
            <a:gdLst>
              <a:gd name="connsiteX0" fmla="*/ 0 w 388315"/>
              <a:gd name="connsiteY0" fmla="*/ 59379 h 237515"/>
              <a:gd name="connsiteX1" fmla="*/ 269558 w 388315"/>
              <a:gd name="connsiteY1" fmla="*/ 59379 h 237515"/>
              <a:gd name="connsiteX2" fmla="*/ 269558 w 388315"/>
              <a:gd name="connsiteY2" fmla="*/ 0 h 237515"/>
              <a:gd name="connsiteX3" fmla="*/ 388315 w 388315"/>
              <a:gd name="connsiteY3" fmla="*/ 118758 h 237515"/>
              <a:gd name="connsiteX4" fmla="*/ 269558 w 388315"/>
              <a:gd name="connsiteY4" fmla="*/ 237515 h 237515"/>
              <a:gd name="connsiteX5" fmla="*/ 269558 w 388315"/>
              <a:gd name="connsiteY5" fmla="*/ 178136 h 237515"/>
              <a:gd name="connsiteX6" fmla="*/ 0 w 388315"/>
              <a:gd name="connsiteY6" fmla="*/ 178136 h 237515"/>
              <a:gd name="connsiteX7" fmla="*/ 0 w 388315"/>
              <a:gd name="connsiteY7" fmla="*/ 59379 h 237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8315" h="237515" extrusionOk="0">
                <a:moveTo>
                  <a:pt x="0" y="59379"/>
                </a:moveTo>
                <a:cubicBezTo>
                  <a:pt x="84013" y="65988"/>
                  <a:pt x="142370" y="47335"/>
                  <a:pt x="269558" y="59379"/>
                </a:cubicBezTo>
                <a:cubicBezTo>
                  <a:pt x="269937" y="40183"/>
                  <a:pt x="268562" y="14892"/>
                  <a:pt x="269558" y="0"/>
                </a:cubicBezTo>
                <a:cubicBezTo>
                  <a:pt x="295360" y="26823"/>
                  <a:pt x="335561" y="64179"/>
                  <a:pt x="388315" y="118758"/>
                </a:cubicBezTo>
                <a:cubicBezTo>
                  <a:pt x="331555" y="179519"/>
                  <a:pt x="315368" y="193113"/>
                  <a:pt x="269558" y="237515"/>
                </a:cubicBezTo>
                <a:cubicBezTo>
                  <a:pt x="267723" y="214850"/>
                  <a:pt x="268724" y="204924"/>
                  <a:pt x="269558" y="178136"/>
                </a:cubicBezTo>
                <a:cubicBezTo>
                  <a:pt x="205230" y="169976"/>
                  <a:pt x="56878" y="176706"/>
                  <a:pt x="0" y="178136"/>
                </a:cubicBezTo>
                <a:cubicBezTo>
                  <a:pt x="-4350" y="126511"/>
                  <a:pt x="-3104" y="109427"/>
                  <a:pt x="0" y="59379"/>
                </a:cubicBezTo>
                <a:close/>
              </a:path>
            </a:pathLst>
          </a:custGeom>
          <a:noFill/>
          <a:ln w="254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DFE13F8-56BF-76AB-11D3-9BEBCBAE163E}"/>
              </a:ext>
            </a:extLst>
          </p:cNvPr>
          <p:cNvGrpSpPr/>
          <p:nvPr/>
        </p:nvGrpSpPr>
        <p:grpSpPr>
          <a:xfrm>
            <a:off x="7881878" y="2574586"/>
            <a:ext cx="984668" cy="790227"/>
            <a:chOff x="7847850" y="2300529"/>
            <a:chExt cx="984668" cy="790227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ED45C24A-4E78-B3B4-1D3A-ECC8C89738DE}"/>
                </a:ext>
              </a:extLst>
            </p:cNvPr>
            <p:cNvGrpSpPr/>
            <p:nvPr/>
          </p:nvGrpSpPr>
          <p:grpSpPr>
            <a:xfrm>
              <a:off x="7922379" y="2369064"/>
              <a:ext cx="778829" cy="721692"/>
              <a:chOff x="3409768" y="2600757"/>
              <a:chExt cx="1571305" cy="1560279"/>
            </a:xfrm>
          </p:grpSpPr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F5C73E76-097F-93FD-BEE4-309FC39B7BF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3987546" y="2600757"/>
                <a:ext cx="993527" cy="126704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4" name="Picture 33" descr="A white robot with a black background&#10;&#10;Description automatically generated">
                <a:extLst>
                  <a:ext uri="{FF2B5EF4-FFF2-40B4-BE49-F238E27FC236}">
                    <a16:creationId xmlns:a16="http://schemas.microsoft.com/office/drawing/2014/main" id="{C2F45153-0012-AAB1-CCDC-5D072D1197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09768" y="3005480"/>
                <a:ext cx="1155556" cy="1155556"/>
              </a:xfrm>
              <a:prstGeom prst="rect">
                <a:avLst/>
              </a:prstGeom>
            </p:spPr>
          </p:pic>
        </p:grp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908FC8D2-6733-720A-F151-C5C62EEBDE48}"/>
                </a:ext>
              </a:extLst>
            </p:cNvPr>
            <p:cNvSpPr/>
            <p:nvPr/>
          </p:nvSpPr>
          <p:spPr>
            <a:xfrm>
              <a:off x="7847850" y="2300529"/>
              <a:ext cx="984668" cy="750646"/>
            </a:xfrm>
            <a:custGeom>
              <a:avLst/>
              <a:gdLst>
                <a:gd name="connsiteX0" fmla="*/ 0 w 984668"/>
                <a:gd name="connsiteY0" fmla="*/ 125110 h 750646"/>
                <a:gd name="connsiteX1" fmla="*/ 125110 w 984668"/>
                <a:gd name="connsiteY1" fmla="*/ 0 h 750646"/>
                <a:gd name="connsiteX2" fmla="*/ 507023 w 984668"/>
                <a:gd name="connsiteY2" fmla="*/ 0 h 750646"/>
                <a:gd name="connsiteX3" fmla="*/ 859558 w 984668"/>
                <a:gd name="connsiteY3" fmla="*/ 0 h 750646"/>
                <a:gd name="connsiteX4" fmla="*/ 984668 w 984668"/>
                <a:gd name="connsiteY4" fmla="*/ 125110 h 750646"/>
                <a:gd name="connsiteX5" fmla="*/ 984668 w 984668"/>
                <a:gd name="connsiteY5" fmla="*/ 625536 h 750646"/>
                <a:gd name="connsiteX6" fmla="*/ 859558 w 984668"/>
                <a:gd name="connsiteY6" fmla="*/ 750646 h 750646"/>
                <a:gd name="connsiteX7" fmla="*/ 492334 w 984668"/>
                <a:gd name="connsiteY7" fmla="*/ 750646 h 750646"/>
                <a:gd name="connsiteX8" fmla="*/ 125110 w 984668"/>
                <a:gd name="connsiteY8" fmla="*/ 750646 h 750646"/>
                <a:gd name="connsiteX9" fmla="*/ 0 w 984668"/>
                <a:gd name="connsiteY9" fmla="*/ 625536 h 750646"/>
                <a:gd name="connsiteX10" fmla="*/ 0 w 984668"/>
                <a:gd name="connsiteY10" fmla="*/ 125110 h 750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84668" h="750646" extrusionOk="0">
                  <a:moveTo>
                    <a:pt x="0" y="125110"/>
                  </a:moveTo>
                  <a:cubicBezTo>
                    <a:pt x="-9580" y="50105"/>
                    <a:pt x="52322" y="1386"/>
                    <a:pt x="125110" y="0"/>
                  </a:cubicBezTo>
                  <a:cubicBezTo>
                    <a:pt x="289853" y="-6597"/>
                    <a:pt x="417927" y="13616"/>
                    <a:pt x="507023" y="0"/>
                  </a:cubicBezTo>
                  <a:cubicBezTo>
                    <a:pt x="596119" y="-13616"/>
                    <a:pt x="699562" y="-12076"/>
                    <a:pt x="859558" y="0"/>
                  </a:cubicBezTo>
                  <a:cubicBezTo>
                    <a:pt x="913737" y="-8162"/>
                    <a:pt x="999580" y="63139"/>
                    <a:pt x="984668" y="125110"/>
                  </a:cubicBezTo>
                  <a:cubicBezTo>
                    <a:pt x="988017" y="304907"/>
                    <a:pt x="960285" y="418914"/>
                    <a:pt x="984668" y="625536"/>
                  </a:cubicBezTo>
                  <a:cubicBezTo>
                    <a:pt x="987412" y="690166"/>
                    <a:pt x="924914" y="753933"/>
                    <a:pt x="859558" y="750646"/>
                  </a:cubicBezTo>
                  <a:cubicBezTo>
                    <a:pt x="698694" y="766720"/>
                    <a:pt x="644692" y="749982"/>
                    <a:pt x="492334" y="750646"/>
                  </a:cubicBezTo>
                  <a:cubicBezTo>
                    <a:pt x="339976" y="751310"/>
                    <a:pt x="209810" y="739942"/>
                    <a:pt x="125110" y="750646"/>
                  </a:cubicBezTo>
                  <a:cubicBezTo>
                    <a:pt x="45398" y="750039"/>
                    <a:pt x="827" y="692364"/>
                    <a:pt x="0" y="625536"/>
                  </a:cubicBezTo>
                  <a:cubicBezTo>
                    <a:pt x="12099" y="513508"/>
                    <a:pt x="-17618" y="305814"/>
                    <a:pt x="0" y="125110"/>
                  </a:cubicBezTo>
                  <a:close/>
                </a:path>
              </a:pathLst>
            </a:custGeom>
            <a:noFill/>
            <a:ln w="38100">
              <a:solidFill>
                <a:srgbClr val="D01012"/>
              </a:solidFill>
              <a:prstDash val="sysDot"/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endParaRPr lang="en-US" dirty="0">
                <a:solidFill>
                  <a:schemeClr val="tx1"/>
                </a:solidFill>
              </a:endParaRPr>
            </a:p>
          </p:txBody>
        </p:sp>
      </p:grpSp>
      <p:pic>
        <p:nvPicPr>
          <p:cNvPr id="18436" name="Picture 4">
            <a:extLst>
              <a:ext uri="{FF2B5EF4-FFF2-40B4-BE49-F238E27FC236}">
                <a16:creationId xmlns:a16="http://schemas.microsoft.com/office/drawing/2014/main" id="{E3727051-12D4-B553-BCB1-1209A20096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duotone>
              <a:prstClr val="black"/>
              <a:srgbClr val="D01012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0276" y="3516745"/>
            <a:ext cx="621103" cy="574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425325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820FCB3-B927-171A-59B2-33D943B7CE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241" y="1469803"/>
            <a:ext cx="5720600" cy="47066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Template Specs UI </a:t>
            </a:r>
            <a:r>
              <a:rPr lang="en-US" b="1" dirty="0"/>
              <a:t>structu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456F21B-9758-BCAA-A512-A04BF6B33F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5555" y="1469802"/>
            <a:ext cx="5182202" cy="4706681"/>
          </a:xfrm>
          <a:prstGeom prst="rect">
            <a:avLst/>
          </a:prstGeom>
        </p:spPr>
      </p:pic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54DDDE3-F7F2-A65A-C5DC-39B033DFB1FA}"/>
              </a:ext>
            </a:extLst>
          </p:cNvPr>
          <p:cNvSpPr/>
          <p:nvPr/>
        </p:nvSpPr>
        <p:spPr>
          <a:xfrm>
            <a:off x="1605281" y="2469264"/>
            <a:ext cx="1676636" cy="150746"/>
          </a:xfrm>
          <a:custGeom>
            <a:avLst/>
            <a:gdLst>
              <a:gd name="connsiteX0" fmla="*/ 0 w 1676636"/>
              <a:gd name="connsiteY0" fmla="*/ 25125 h 150746"/>
              <a:gd name="connsiteX1" fmla="*/ 25125 w 1676636"/>
              <a:gd name="connsiteY1" fmla="*/ 0 h 150746"/>
              <a:gd name="connsiteX2" fmla="*/ 534726 w 1676636"/>
              <a:gd name="connsiteY2" fmla="*/ 0 h 150746"/>
              <a:gd name="connsiteX3" fmla="*/ 1060591 w 1676636"/>
              <a:gd name="connsiteY3" fmla="*/ 0 h 150746"/>
              <a:gd name="connsiteX4" fmla="*/ 1651511 w 1676636"/>
              <a:gd name="connsiteY4" fmla="*/ 0 h 150746"/>
              <a:gd name="connsiteX5" fmla="*/ 1676636 w 1676636"/>
              <a:gd name="connsiteY5" fmla="*/ 25125 h 150746"/>
              <a:gd name="connsiteX6" fmla="*/ 1676636 w 1676636"/>
              <a:gd name="connsiteY6" fmla="*/ 125621 h 150746"/>
              <a:gd name="connsiteX7" fmla="*/ 1651511 w 1676636"/>
              <a:gd name="connsiteY7" fmla="*/ 150746 h 150746"/>
              <a:gd name="connsiteX8" fmla="*/ 1093118 w 1676636"/>
              <a:gd name="connsiteY8" fmla="*/ 150746 h 150746"/>
              <a:gd name="connsiteX9" fmla="*/ 567254 w 1676636"/>
              <a:gd name="connsiteY9" fmla="*/ 150746 h 150746"/>
              <a:gd name="connsiteX10" fmla="*/ 25125 w 1676636"/>
              <a:gd name="connsiteY10" fmla="*/ 150746 h 150746"/>
              <a:gd name="connsiteX11" fmla="*/ 0 w 1676636"/>
              <a:gd name="connsiteY11" fmla="*/ 125621 h 150746"/>
              <a:gd name="connsiteX12" fmla="*/ 0 w 1676636"/>
              <a:gd name="connsiteY12" fmla="*/ 25125 h 150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676636" h="150746" extrusionOk="0">
                <a:moveTo>
                  <a:pt x="0" y="25125"/>
                </a:moveTo>
                <a:cubicBezTo>
                  <a:pt x="3431" y="11656"/>
                  <a:pt x="10310" y="-1264"/>
                  <a:pt x="25125" y="0"/>
                </a:cubicBezTo>
                <a:cubicBezTo>
                  <a:pt x="134176" y="19185"/>
                  <a:pt x="333028" y="11923"/>
                  <a:pt x="534726" y="0"/>
                </a:cubicBezTo>
                <a:cubicBezTo>
                  <a:pt x="736424" y="-11923"/>
                  <a:pt x="899272" y="-16826"/>
                  <a:pt x="1060591" y="0"/>
                </a:cubicBezTo>
                <a:cubicBezTo>
                  <a:pt x="1221910" y="16826"/>
                  <a:pt x="1447884" y="-2822"/>
                  <a:pt x="1651511" y="0"/>
                </a:cubicBezTo>
                <a:cubicBezTo>
                  <a:pt x="1666258" y="2651"/>
                  <a:pt x="1676695" y="13003"/>
                  <a:pt x="1676636" y="25125"/>
                </a:cubicBezTo>
                <a:cubicBezTo>
                  <a:pt x="1672613" y="56861"/>
                  <a:pt x="1678349" y="84206"/>
                  <a:pt x="1676636" y="125621"/>
                </a:cubicBezTo>
                <a:cubicBezTo>
                  <a:pt x="1677042" y="139877"/>
                  <a:pt x="1663692" y="149018"/>
                  <a:pt x="1651511" y="150746"/>
                </a:cubicBezTo>
                <a:cubicBezTo>
                  <a:pt x="1520561" y="171232"/>
                  <a:pt x="1299191" y="138200"/>
                  <a:pt x="1093118" y="150746"/>
                </a:cubicBezTo>
                <a:cubicBezTo>
                  <a:pt x="887045" y="163292"/>
                  <a:pt x="795837" y="140946"/>
                  <a:pt x="567254" y="150746"/>
                </a:cubicBezTo>
                <a:cubicBezTo>
                  <a:pt x="338671" y="160546"/>
                  <a:pt x="204051" y="140643"/>
                  <a:pt x="25125" y="150746"/>
                </a:cubicBezTo>
                <a:cubicBezTo>
                  <a:pt x="11315" y="151067"/>
                  <a:pt x="1988" y="141834"/>
                  <a:pt x="0" y="125621"/>
                </a:cubicBezTo>
                <a:cubicBezTo>
                  <a:pt x="-1109" y="101133"/>
                  <a:pt x="-3526" y="68542"/>
                  <a:pt x="0" y="25125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08A5DEB-871D-0E77-8EF3-36F71C7E079C}"/>
              </a:ext>
            </a:extLst>
          </p:cNvPr>
          <p:cNvSpPr/>
          <p:nvPr/>
        </p:nvSpPr>
        <p:spPr>
          <a:xfrm>
            <a:off x="2023533" y="2857500"/>
            <a:ext cx="1011767" cy="266700"/>
          </a:xfrm>
          <a:custGeom>
            <a:avLst/>
            <a:gdLst>
              <a:gd name="connsiteX0" fmla="*/ 0 w 1011767"/>
              <a:gd name="connsiteY0" fmla="*/ 44451 h 266700"/>
              <a:gd name="connsiteX1" fmla="*/ 44451 w 1011767"/>
              <a:gd name="connsiteY1" fmla="*/ 0 h 266700"/>
              <a:gd name="connsiteX2" fmla="*/ 487426 w 1011767"/>
              <a:gd name="connsiteY2" fmla="*/ 0 h 266700"/>
              <a:gd name="connsiteX3" fmla="*/ 967316 w 1011767"/>
              <a:gd name="connsiteY3" fmla="*/ 0 h 266700"/>
              <a:gd name="connsiteX4" fmla="*/ 1011767 w 1011767"/>
              <a:gd name="connsiteY4" fmla="*/ 44451 h 266700"/>
              <a:gd name="connsiteX5" fmla="*/ 1011767 w 1011767"/>
              <a:gd name="connsiteY5" fmla="*/ 222249 h 266700"/>
              <a:gd name="connsiteX6" fmla="*/ 967316 w 1011767"/>
              <a:gd name="connsiteY6" fmla="*/ 266700 h 266700"/>
              <a:gd name="connsiteX7" fmla="*/ 487426 w 1011767"/>
              <a:gd name="connsiteY7" fmla="*/ 266700 h 266700"/>
              <a:gd name="connsiteX8" fmla="*/ 44451 w 1011767"/>
              <a:gd name="connsiteY8" fmla="*/ 266700 h 266700"/>
              <a:gd name="connsiteX9" fmla="*/ 0 w 1011767"/>
              <a:gd name="connsiteY9" fmla="*/ 222249 h 266700"/>
              <a:gd name="connsiteX10" fmla="*/ 0 w 1011767"/>
              <a:gd name="connsiteY10" fmla="*/ 44451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11767" h="266700" extrusionOk="0">
                <a:moveTo>
                  <a:pt x="0" y="44451"/>
                </a:moveTo>
                <a:cubicBezTo>
                  <a:pt x="5337" y="20535"/>
                  <a:pt x="19089" y="-1093"/>
                  <a:pt x="44451" y="0"/>
                </a:cubicBezTo>
                <a:cubicBezTo>
                  <a:pt x="254285" y="-16268"/>
                  <a:pt x="323921" y="-789"/>
                  <a:pt x="487426" y="0"/>
                </a:cubicBezTo>
                <a:cubicBezTo>
                  <a:pt x="650932" y="789"/>
                  <a:pt x="749723" y="-17084"/>
                  <a:pt x="967316" y="0"/>
                </a:cubicBezTo>
                <a:cubicBezTo>
                  <a:pt x="990808" y="4735"/>
                  <a:pt x="1010927" y="20041"/>
                  <a:pt x="1011767" y="44451"/>
                </a:cubicBezTo>
                <a:cubicBezTo>
                  <a:pt x="1007744" y="120342"/>
                  <a:pt x="1007498" y="159694"/>
                  <a:pt x="1011767" y="222249"/>
                </a:cubicBezTo>
                <a:cubicBezTo>
                  <a:pt x="1016225" y="249669"/>
                  <a:pt x="993108" y="265232"/>
                  <a:pt x="967316" y="266700"/>
                </a:cubicBezTo>
                <a:cubicBezTo>
                  <a:pt x="838150" y="262251"/>
                  <a:pt x="662777" y="252701"/>
                  <a:pt x="487426" y="266700"/>
                </a:cubicBezTo>
                <a:cubicBezTo>
                  <a:pt x="312075" y="280700"/>
                  <a:pt x="217483" y="266500"/>
                  <a:pt x="44451" y="266700"/>
                </a:cubicBezTo>
                <a:cubicBezTo>
                  <a:pt x="19826" y="265796"/>
                  <a:pt x="0" y="244500"/>
                  <a:pt x="0" y="222249"/>
                </a:cubicBezTo>
                <a:cubicBezTo>
                  <a:pt x="8172" y="162705"/>
                  <a:pt x="-8041" y="84955"/>
                  <a:pt x="0" y="44451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6617DFD1-0674-A5D6-815F-8BEAAFD741A4}"/>
              </a:ext>
            </a:extLst>
          </p:cNvPr>
          <p:cNvSpPr/>
          <p:nvPr/>
        </p:nvSpPr>
        <p:spPr>
          <a:xfrm>
            <a:off x="2154767" y="3235738"/>
            <a:ext cx="1748602" cy="1368012"/>
          </a:xfrm>
          <a:custGeom>
            <a:avLst/>
            <a:gdLst>
              <a:gd name="connsiteX0" fmla="*/ 0 w 1748602"/>
              <a:gd name="connsiteY0" fmla="*/ 228007 h 1368012"/>
              <a:gd name="connsiteX1" fmla="*/ 228007 w 1748602"/>
              <a:gd name="connsiteY1" fmla="*/ 0 h 1368012"/>
              <a:gd name="connsiteX2" fmla="*/ 848449 w 1748602"/>
              <a:gd name="connsiteY2" fmla="*/ 0 h 1368012"/>
              <a:gd name="connsiteX3" fmla="*/ 1520595 w 1748602"/>
              <a:gd name="connsiteY3" fmla="*/ 0 h 1368012"/>
              <a:gd name="connsiteX4" fmla="*/ 1748602 w 1748602"/>
              <a:gd name="connsiteY4" fmla="*/ 228007 h 1368012"/>
              <a:gd name="connsiteX5" fmla="*/ 1748602 w 1748602"/>
              <a:gd name="connsiteY5" fmla="*/ 665766 h 1368012"/>
              <a:gd name="connsiteX6" fmla="*/ 1748602 w 1748602"/>
              <a:gd name="connsiteY6" fmla="*/ 1140005 h 1368012"/>
              <a:gd name="connsiteX7" fmla="*/ 1520595 w 1748602"/>
              <a:gd name="connsiteY7" fmla="*/ 1368012 h 1368012"/>
              <a:gd name="connsiteX8" fmla="*/ 861375 w 1748602"/>
              <a:gd name="connsiteY8" fmla="*/ 1368012 h 1368012"/>
              <a:gd name="connsiteX9" fmla="*/ 228007 w 1748602"/>
              <a:gd name="connsiteY9" fmla="*/ 1368012 h 1368012"/>
              <a:gd name="connsiteX10" fmla="*/ 0 w 1748602"/>
              <a:gd name="connsiteY10" fmla="*/ 1140005 h 1368012"/>
              <a:gd name="connsiteX11" fmla="*/ 0 w 1748602"/>
              <a:gd name="connsiteY11" fmla="*/ 684006 h 1368012"/>
              <a:gd name="connsiteX12" fmla="*/ 0 w 1748602"/>
              <a:gd name="connsiteY12" fmla="*/ 228007 h 1368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748602" h="1368012" extrusionOk="0">
                <a:moveTo>
                  <a:pt x="0" y="228007"/>
                </a:moveTo>
                <a:cubicBezTo>
                  <a:pt x="29751" y="105615"/>
                  <a:pt x="100119" y="-2641"/>
                  <a:pt x="228007" y="0"/>
                </a:cubicBezTo>
                <a:cubicBezTo>
                  <a:pt x="459341" y="30546"/>
                  <a:pt x="585853" y="15765"/>
                  <a:pt x="848449" y="0"/>
                </a:cubicBezTo>
                <a:cubicBezTo>
                  <a:pt x="1111045" y="-15765"/>
                  <a:pt x="1283194" y="-33242"/>
                  <a:pt x="1520595" y="0"/>
                </a:cubicBezTo>
                <a:cubicBezTo>
                  <a:pt x="1642678" y="17188"/>
                  <a:pt x="1742561" y="103089"/>
                  <a:pt x="1748602" y="228007"/>
                </a:cubicBezTo>
                <a:cubicBezTo>
                  <a:pt x="1737587" y="388882"/>
                  <a:pt x="1739103" y="514271"/>
                  <a:pt x="1748602" y="665766"/>
                </a:cubicBezTo>
                <a:cubicBezTo>
                  <a:pt x="1758101" y="817261"/>
                  <a:pt x="1728584" y="1005315"/>
                  <a:pt x="1748602" y="1140005"/>
                </a:cubicBezTo>
                <a:cubicBezTo>
                  <a:pt x="1764642" y="1280971"/>
                  <a:pt x="1637067" y="1358378"/>
                  <a:pt x="1520595" y="1368012"/>
                </a:cubicBezTo>
                <a:cubicBezTo>
                  <a:pt x="1229643" y="1364386"/>
                  <a:pt x="1171340" y="1392641"/>
                  <a:pt x="861375" y="1368012"/>
                </a:cubicBezTo>
                <a:cubicBezTo>
                  <a:pt x="551410" y="1343383"/>
                  <a:pt x="372411" y="1337440"/>
                  <a:pt x="228007" y="1368012"/>
                </a:cubicBezTo>
                <a:cubicBezTo>
                  <a:pt x="101699" y="1345953"/>
                  <a:pt x="-23987" y="1258406"/>
                  <a:pt x="0" y="1140005"/>
                </a:cubicBezTo>
                <a:cubicBezTo>
                  <a:pt x="7734" y="918507"/>
                  <a:pt x="-11623" y="776831"/>
                  <a:pt x="0" y="684006"/>
                </a:cubicBezTo>
                <a:cubicBezTo>
                  <a:pt x="11623" y="591181"/>
                  <a:pt x="-18688" y="377756"/>
                  <a:pt x="0" y="228007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5DEF851-EF3F-BE3A-A38E-8DA11BCA868E}"/>
              </a:ext>
            </a:extLst>
          </p:cNvPr>
          <p:cNvSpPr txBox="1"/>
          <p:nvPr/>
        </p:nvSpPr>
        <p:spPr>
          <a:xfrm>
            <a:off x="2970796" y="2847201"/>
            <a:ext cx="4619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Tab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3719015-E115-6602-D5A6-CD4ED04FF3FB}"/>
              </a:ext>
            </a:extLst>
          </p:cNvPr>
          <p:cNvSpPr txBox="1"/>
          <p:nvPr/>
        </p:nvSpPr>
        <p:spPr>
          <a:xfrm>
            <a:off x="3833090" y="3719268"/>
            <a:ext cx="8851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Input fields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2C65C423-A189-0D50-087B-FAC0A71500BE}"/>
              </a:ext>
            </a:extLst>
          </p:cNvPr>
          <p:cNvSpPr/>
          <p:nvPr/>
        </p:nvSpPr>
        <p:spPr>
          <a:xfrm>
            <a:off x="1605281" y="5429250"/>
            <a:ext cx="3576318" cy="403448"/>
          </a:xfrm>
          <a:custGeom>
            <a:avLst/>
            <a:gdLst>
              <a:gd name="connsiteX0" fmla="*/ 0 w 3576318"/>
              <a:gd name="connsiteY0" fmla="*/ 67243 h 403448"/>
              <a:gd name="connsiteX1" fmla="*/ 67243 w 3576318"/>
              <a:gd name="connsiteY1" fmla="*/ 0 h 403448"/>
              <a:gd name="connsiteX2" fmla="*/ 686773 w 3576318"/>
              <a:gd name="connsiteY2" fmla="*/ 0 h 403448"/>
              <a:gd name="connsiteX3" fmla="*/ 1340721 w 3576318"/>
              <a:gd name="connsiteY3" fmla="*/ 0 h 403448"/>
              <a:gd name="connsiteX4" fmla="*/ 1960251 w 3576318"/>
              <a:gd name="connsiteY4" fmla="*/ 0 h 403448"/>
              <a:gd name="connsiteX5" fmla="*/ 2683035 w 3576318"/>
              <a:gd name="connsiteY5" fmla="*/ 0 h 403448"/>
              <a:gd name="connsiteX6" fmla="*/ 3509075 w 3576318"/>
              <a:gd name="connsiteY6" fmla="*/ 0 h 403448"/>
              <a:gd name="connsiteX7" fmla="*/ 3576318 w 3576318"/>
              <a:gd name="connsiteY7" fmla="*/ 67243 h 403448"/>
              <a:gd name="connsiteX8" fmla="*/ 3576318 w 3576318"/>
              <a:gd name="connsiteY8" fmla="*/ 336205 h 403448"/>
              <a:gd name="connsiteX9" fmla="*/ 3509075 w 3576318"/>
              <a:gd name="connsiteY9" fmla="*/ 403448 h 403448"/>
              <a:gd name="connsiteX10" fmla="*/ 2751872 w 3576318"/>
              <a:gd name="connsiteY10" fmla="*/ 403448 h 403448"/>
              <a:gd name="connsiteX11" fmla="*/ 2132342 w 3576318"/>
              <a:gd name="connsiteY11" fmla="*/ 403448 h 403448"/>
              <a:gd name="connsiteX12" fmla="*/ 1409557 w 3576318"/>
              <a:gd name="connsiteY12" fmla="*/ 403448 h 403448"/>
              <a:gd name="connsiteX13" fmla="*/ 721191 w 3576318"/>
              <a:gd name="connsiteY13" fmla="*/ 403448 h 403448"/>
              <a:gd name="connsiteX14" fmla="*/ 67243 w 3576318"/>
              <a:gd name="connsiteY14" fmla="*/ 403448 h 403448"/>
              <a:gd name="connsiteX15" fmla="*/ 0 w 3576318"/>
              <a:gd name="connsiteY15" fmla="*/ 336205 h 403448"/>
              <a:gd name="connsiteX16" fmla="*/ 0 w 3576318"/>
              <a:gd name="connsiteY16" fmla="*/ 67243 h 403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576318" h="403448" extrusionOk="0">
                <a:moveTo>
                  <a:pt x="0" y="67243"/>
                </a:moveTo>
                <a:cubicBezTo>
                  <a:pt x="2629" y="30418"/>
                  <a:pt x="27170" y="-3950"/>
                  <a:pt x="67243" y="0"/>
                </a:cubicBezTo>
                <a:cubicBezTo>
                  <a:pt x="362639" y="20412"/>
                  <a:pt x="386875" y="21115"/>
                  <a:pt x="686773" y="0"/>
                </a:cubicBezTo>
                <a:cubicBezTo>
                  <a:pt x="986671" y="-21115"/>
                  <a:pt x="1114373" y="3939"/>
                  <a:pt x="1340721" y="0"/>
                </a:cubicBezTo>
                <a:cubicBezTo>
                  <a:pt x="1567069" y="-3939"/>
                  <a:pt x="1713361" y="-22120"/>
                  <a:pt x="1960251" y="0"/>
                </a:cubicBezTo>
                <a:cubicBezTo>
                  <a:pt x="2207141" y="22120"/>
                  <a:pt x="2518982" y="11263"/>
                  <a:pt x="2683035" y="0"/>
                </a:cubicBezTo>
                <a:cubicBezTo>
                  <a:pt x="2847088" y="-11263"/>
                  <a:pt x="3168721" y="5925"/>
                  <a:pt x="3509075" y="0"/>
                </a:cubicBezTo>
                <a:cubicBezTo>
                  <a:pt x="3549557" y="2154"/>
                  <a:pt x="3578828" y="27139"/>
                  <a:pt x="3576318" y="67243"/>
                </a:cubicBezTo>
                <a:cubicBezTo>
                  <a:pt x="3570219" y="137030"/>
                  <a:pt x="3579598" y="257723"/>
                  <a:pt x="3576318" y="336205"/>
                </a:cubicBezTo>
                <a:cubicBezTo>
                  <a:pt x="3577716" y="374957"/>
                  <a:pt x="3549754" y="399041"/>
                  <a:pt x="3509075" y="403448"/>
                </a:cubicBezTo>
                <a:cubicBezTo>
                  <a:pt x="3355616" y="436227"/>
                  <a:pt x="3042643" y="394590"/>
                  <a:pt x="2751872" y="403448"/>
                </a:cubicBezTo>
                <a:cubicBezTo>
                  <a:pt x="2461101" y="412306"/>
                  <a:pt x="2363110" y="419379"/>
                  <a:pt x="2132342" y="403448"/>
                </a:cubicBezTo>
                <a:cubicBezTo>
                  <a:pt x="1901574" y="387518"/>
                  <a:pt x="1588134" y="403772"/>
                  <a:pt x="1409557" y="403448"/>
                </a:cubicBezTo>
                <a:cubicBezTo>
                  <a:pt x="1230981" y="403124"/>
                  <a:pt x="1015236" y="384276"/>
                  <a:pt x="721191" y="403448"/>
                </a:cubicBezTo>
                <a:cubicBezTo>
                  <a:pt x="427146" y="422620"/>
                  <a:pt x="357514" y="389432"/>
                  <a:pt x="67243" y="403448"/>
                </a:cubicBezTo>
                <a:cubicBezTo>
                  <a:pt x="26268" y="408169"/>
                  <a:pt x="-3080" y="379571"/>
                  <a:pt x="0" y="336205"/>
                </a:cubicBezTo>
                <a:cubicBezTo>
                  <a:pt x="-3421" y="265999"/>
                  <a:pt x="12693" y="128349"/>
                  <a:pt x="0" y="67243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11B6037-1494-A207-4634-923898AB05B4}"/>
              </a:ext>
            </a:extLst>
          </p:cNvPr>
          <p:cNvSpPr txBox="1"/>
          <p:nvPr/>
        </p:nvSpPr>
        <p:spPr>
          <a:xfrm>
            <a:off x="5113250" y="5492474"/>
            <a:ext cx="14916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Deployment control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7D9CC59-8699-992F-BE1E-51F3CD87059F}"/>
              </a:ext>
            </a:extLst>
          </p:cNvPr>
          <p:cNvSpPr txBox="1"/>
          <p:nvPr/>
        </p:nvSpPr>
        <p:spPr>
          <a:xfrm>
            <a:off x="2586478" y="5138392"/>
            <a:ext cx="28138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Ui input fields to template param bindings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28B0551B-2A0E-6607-B188-875AFD437306}"/>
              </a:ext>
            </a:extLst>
          </p:cNvPr>
          <p:cNvSpPr/>
          <p:nvPr/>
        </p:nvSpPr>
        <p:spPr>
          <a:xfrm>
            <a:off x="1605281" y="5148691"/>
            <a:ext cx="1014438" cy="266700"/>
          </a:xfrm>
          <a:custGeom>
            <a:avLst/>
            <a:gdLst>
              <a:gd name="connsiteX0" fmla="*/ 0 w 1014438"/>
              <a:gd name="connsiteY0" fmla="*/ 44451 h 266700"/>
              <a:gd name="connsiteX1" fmla="*/ 44451 w 1014438"/>
              <a:gd name="connsiteY1" fmla="*/ 0 h 266700"/>
              <a:gd name="connsiteX2" fmla="*/ 488708 w 1014438"/>
              <a:gd name="connsiteY2" fmla="*/ 0 h 266700"/>
              <a:gd name="connsiteX3" fmla="*/ 969987 w 1014438"/>
              <a:gd name="connsiteY3" fmla="*/ 0 h 266700"/>
              <a:gd name="connsiteX4" fmla="*/ 1014438 w 1014438"/>
              <a:gd name="connsiteY4" fmla="*/ 44451 h 266700"/>
              <a:gd name="connsiteX5" fmla="*/ 1014438 w 1014438"/>
              <a:gd name="connsiteY5" fmla="*/ 222249 h 266700"/>
              <a:gd name="connsiteX6" fmla="*/ 969987 w 1014438"/>
              <a:gd name="connsiteY6" fmla="*/ 266700 h 266700"/>
              <a:gd name="connsiteX7" fmla="*/ 488708 w 1014438"/>
              <a:gd name="connsiteY7" fmla="*/ 266700 h 266700"/>
              <a:gd name="connsiteX8" fmla="*/ 44451 w 1014438"/>
              <a:gd name="connsiteY8" fmla="*/ 266700 h 266700"/>
              <a:gd name="connsiteX9" fmla="*/ 0 w 1014438"/>
              <a:gd name="connsiteY9" fmla="*/ 222249 h 266700"/>
              <a:gd name="connsiteX10" fmla="*/ 0 w 1014438"/>
              <a:gd name="connsiteY10" fmla="*/ 44451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14438" h="266700" extrusionOk="0">
                <a:moveTo>
                  <a:pt x="0" y="44451"/>
                </a:moveTo>
                <a:cubicBezTo>
                  <a:pt x="5337" y="20535"/>
                  <a:pt x="19089" y="-1093"/>
                  <a:pt x="44451" y="0"/>
                </a:cubicBezTo>
                <a:cubicBezTo>
                  <a:pt x="232134" y="-18722"/>
                  <a:pt x="274982" y="-2067"/>
                  <a:pt x="488708" y="0"/>
                </a:cubicBezTo>
                <a:cubicBezTo>
                  <a:pt x="702434" y="2067"/>
                  <a:pt x="743985" y="1199"/>
                  <a:pt x="969987" y="0"/>
                </a:cubicBezTo>
                <a:cubicBezTo>
                  <a:pt x="993479" y="4735"/>
                  <a:pt x="1013598" y="20041"/>
                  <a:pt x="1014438" y="44451"/>
                </a:cubicBezTo>
                <a:cubicBezTo>
                  <a:pt x="1010415" y="120342"/>
                  <a:pt x="1010169" y="159694"/>
                  <a:pt x="1014438" y="222249"/>
                </a:cubicBezTo>
                <a:cubicBezTo>
                  <a:pt x="1018896" y="249669"/>
                  <a:pt x="995779" y="265232"/>
                  <a:pt x="969987" y="266700"/>
                </a:cubicBezTo>
                <a:cubicBezTo>
                  <a:pt x="841458" y="275866"/>
                  <a:pt x="691781" y="249425"/>
                  <a:pt x="488708" y="266700"/>
                </a:cubicBezTo>
                <a:cubicBezTo>
                  <a:pt x="285635" y="283975"/>
                  <a:pt x="135153" y="282324"/>
                  <a:pt x="44451" y="266700"/>
                </a:cubicBezTo>
                <a:cubicBezTo>
                  <a:pt x="19826" y="265796"/>
                  <a:pt x="0" y="244500"/>
                  <a:pt x="0" y="222249"/>
                </a:cubicBezTo>
                <a:cubicBezTo>
                  <a:pt x="8172" y="162705"/>
                  <a:pt x="-8041" y="84955"/>
                  <a:pt x="0" y="44451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30609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Template Specs UI </a:t>
            </a:r>
            <a:r>
              <a:rPr lang="en-US" b="1" dirty="0"/>
              <a:t>elemen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FDF1FF9-8D21-4BEE-188A-20EA6F0DC84E}"/>
              </a:ext>
            </a:extLst>
          </p:cNvPr>
          <p:cNvSpPr txBox="1"/>
          <p:nvPr/>
        </p:nvSpPr>
        <p:spPr>
          <a:xfrm>
            <a:off x="615950" y="1612900"/>
            <a:ext cx="279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2"/>
              </a:rPr>
              <a:t>User interface elements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3EEFB4-519E-2388-5E11-A6BBF42B0381}"/>
              </a:ext>
            </a:extLst>
          </p:cNvPr>
          <p:cNvSpPr txBox="1"/>
          <p:nvPr/>
        </p:nvSpPr>
        <p:spPr>
          <a:xfrm>
            <a:off x="3327400" y="1612900"/>
            <a:ext cx="26387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3"/>
              </a:rPr>
              <a:t>User interface functions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9DE0D97-D88B-9357-F4A3-C5642D04E2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14896" y="1982232"/>
            <a:ext cx="2114845" cy="255305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27F14E0-9E48-27BE-C7A6-ABC41DDEC1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5950" y="1991758"/>
            <a:ext cx="1667108" cy="254353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B860586-8C02-45AB-4E86-A2D8EF4A4F6D}"/>
              </a:ext>
            </a:extLst>
          </p:cNvPr>
          <p:cNvSpPr txBox="1"/>
          <p:nvPr/>
        </p:nvSpPr>
        <p:spPr>
          <a:xfrm>
            <a:off x="6096000" y="1612900"/>
            <a:ext cx="26387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6"/>
              </a:rPr>
              <a:t>Sandbox utility</a:t>
            </a:r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1B45B99-A2A3-358F-047B-9584E1CB3C1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85702" y="2048909"/>
            <a:ext cx="5002998" cy="3079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77188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Template Specs UI </a:t>
            </a:r>
            <a:r>
              <a:rPr lang="en-US" i="0" u="none" strike="noStrike" dirty="0"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alls to Azure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The: </a:t>
            </a:r>
            <a:r>
              <a:rPr lang="en-US" sz="2000" dirty="0" err="1"/>
              <a:t>Microsoft.Solutions.ArmApiControl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7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14384" y="2841878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7925" y="2526460"/>
            <a:ext cx="1963754" cy="196375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9C09223-D36A-E074-1AA6-0CB54D96C302}"/>
              </a:ext>
            </a:extLst>
          </p:cNvPr>
          <p:cNvSpPr txBox="1"/>
          <p:nvPr/>
        </p:nvSpPr>
        <p:spPr>
          <a:xfrm>
            <a:off x="861162" y="4896951"/>
            <a:ext cx="1236877" cy="369332"/>
          </a:xfrm>
          <a:custGeom>
            <a:avLst/>
            <a:gdLst>
              <a:gd name="connsiteX0" fmla="*/ 0 w 1236877"/>
              <a:gd name="connsiteY0" fmla="*/ 0 h 369332"/>
              <a:gd name="connsiteX1" fmla="*/ 399924 w 1236877"/>
              <a:gd name="connsiteY1" fmla="*/ 0 h 369332"/>
              <a:gd name="connsiteX2" fmla="*/ 775110 w 1236877"/>
              <a:gd name="connsiteY2" fmla="*/ 0 h 369332"/>
              <a:gd name="connsiteX3" fmla="*/ 1236877 w 1236877"/>
              <a:gd name="connsiteY3" fmla="*/ 0 h 369332"/>
              <a:gd name="connsiteX4" fmla="*/ 1236877 w 1236877"/>
              <a:gd name="connsiteY4" fmla="*/ 369332 h 369332"/>
              <a:gd name="connsiteX5" fmla="*/ 849322 w 1236877"/>
              <a:gd name="connsiteY5" fmla="*/ 369332 h 369332"/>
              <a:gd name="connsiteX6" fmla="*/ 412292 w 1236877"/>
              <a:gd name="connsiteY6" fmla="*/ 369332 h 369332"/>
              <a:gd name="connsiteX7" fmla="*/ 0 w 1236877"/>
              <a:gd name="connsiteY7" fmla="*/ 369332 h 369332"/>
              <a:gd name="connsiteX8" fmla="*/ 0 w 1236877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6877" h="369332" extrusionOk="0">
                <a:moveTo>
                  <a:pt x="0" y="0"/>
                </a:moveTo>
                <a:cubicBezTo>
                  <a:pt x="175328" y="-17771"/>
                  <a:pt x="280012" y="20305"/>
                  <a:pt x="399924" y="0"/>
                </a:cubicBezTo>
                <a:cubicBezTo>
                  <a:pt x="519836" y="-20305"/>
                  <a:pt x="673338" y="9360"/>
                  <a:pt x="775110" y="0"/>
                </a:cubicBezTo>
                <a:cubicBezTo>
                  <a:pt x="876882" y="-9360"/>
                  <a:pt x="1091270" y="30966"/>
                  <a:pt x="1236877" y="0"/>
                </a:cubicBezTo>
                <a:cubicBezTo>
                  <a:pt x="1272465" y="113493"/>
                  <a:pt x="1210070" y="197069"/>
                  <a:pt x="1236877" y="369332"/>
                </a:cubicBezTo>
                <a:cubicBezTo>
                  <a:pt x="1057692" y="380605"/>
                  <a:pt x="987291" y="349777"/>
                  <a:pt x="849322" y="369332"/>
                </a:cubicBezTo>
                <a:cubicBezTo>
                  <a:pt x="711353" y="388887"/>
                  <a:pt x="537900" y="327536"/>
                  <a:pt x="412292" y="369332"/>
                </a:cubicBezTo>
                <a:cubicBezTo>
                  <a:pt x="286684" y="411128"/>
                  <a:pt x="158184" y="356080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Develop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CEC175-E2F9-A40F-65CB-92B68AEF21E7}"/>
              </a:ext>
            </a:extLst>
          </p:cNvPr>
          <p:cNvSpPr txBox="1"/>
          <p:nvPr/>
        </p:nvSpPr>
        <p:spPr>
          <a:xfrm>
            <a:off x="1508830" y="5420858"/>
            <a:ext cx="1548565" cy="369332"/>
          </a:xfrm>
          <a:custGeom>
            <a:avLst/>
            <a:gdLst>
              <a:gd name="connsiteX0" fmla="*/ 0 w 1548565"/>
              <a:gd name="connsiteY0" fmla="*/ 0 h 369332"/>
              <a:gd name="connsiteX1" fmla="*/ 500703 w 1548565"/>
              <a:gd name="connsiteY1" fmla="*/ 0 h 369332"/>
              <a:gd name="connsiteX2" fmla="*/ 970434 w 1548565"/>
              <a:gd name="connsiteY2" fmla="*/ 0 h 369332"/>
              <a:gd name="connsiteX3" fmla="*/ 1548565 w 1548565"/>
              <a:gd name="connsiteY3" fmla="*/ 0 h 369332"/>
              <a:gd name="connsiteX4" fmla="*/ 1548565 w 1548565"/>
              <a:gd name="connsiteY4" fmla="*/ 369332 h 369332"/>
              <a:gd name="connsiteX5" fmla="*/ 1063348 w 1548565"/>
              <a:gd name="connsiteY5" fmla="*/ 369332 h 369332"/>
              <a:gd name="connsiteX6" fmla="*/ 516188 w 1548565"/>
              <a:gd name="connsiteY6" fmla="*/ 369332 h 369332"/>
              <a:gd name="connsiteX7" fmla="*/ 0 w 1548565"/>
              <a:gd name="connsiteY7" fmla="*/ 369332 h 369332"/>
              <a:gd name="connsiteX8" fmla="*/ 0 w 1548565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8565" h="369332" extrusionOk="0">
                <a:moveTo>
                  <a:pt x="0" y="0"/>
                </a:moveTo>
                <a:cubicBezTo>
                  <a:pt x="188744" y="-47250"/>
                  <a:pt x="363565" y="29188"/>
                  <a:pt x="500703" y="0"/>
                </a:cubicBezTo>
                <a:cubicBezTo>
                  <a:pt x="637841" y="-29188"/>
                  <a:pt x="876338" y="27244"/>
                  <a:pt x="970434" y="0"/>
                </a:cubicBezTo>
                <a:cubicBezTo>
                  <a:pt x="1064530" y="-27244"/>
                  <a:pt x="1364252" y="59563"/>
                  <a:pt x="1548565" y="0"/>
                </a:cubicBezTo>
                <a:cubicBezTo>
                  <a:pt x="1584153" y="113493"/>
                  <a:pt x="1521758" y="197069"/>
                  <a:pt x="1548565" y="369332"/>
                </a:cubicBezTo>
                <a:cubicBezTo>
                  <a:pt x="1380486" y="378330"/>
                  <a:pt x="1230603" y="356389"/>
                  <a:pt x="1063348" y="369332"/>
                </a:cubicBezTo>
                <a:cubicBezTo>
                  <a:pt x="896093" y="382275"/>
                  <a:pt x="690595" y="357083"/>
                  <a:pt x="516188" y="369332"/>
                </a:cubicBezTo>
                <a:cubicBezTo>
                  <a:pt x="341781" y="381581"/>
                  <a:pt x="145639" y="3359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Platform Tea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635322" y="4373044"/>
            <a:ext cx="2422073" cy="369332"/>
          </a:xfrm>
          <a:custGeom>
            <a:avLst/>
            <a:gdLst>
              <a:gd name="connsiteX0" fmla="*/ 0 w 2422073"/>
              <a:gd name="connsiteY0" fmla="*/ 0 h 369332"/>
              <a:gd name="connsiteX1" fmla="*/ 460194 w 2422073"/>
              <a:gd name="connsiteY1" fmla="*/ 0 h 369332"/>
              <a:gd name="connsiteX2" fmla="*/ 871946 w 2422073"/>
              <a:gd name="connsiteY2" fmla="*/ 0 h 369332"/>
              <a:gd name="connsiteX3" fmla="*/ 1404802 w 2422073"/>
              <a:gd name="connsiteY3" fmla="*/ 0 h 369332"/>
              <a:gd name="connsiteX4" fmla="*/ 1864996 w 2422073"/>
              <a:gd name="connsiteY4" fmla="*/ 0 h 369332"/>
              <a:gd name="connsiteX5" fmla="*/ 2422073 w 2422073"/>
              <a:gd name="connsiteY5" fmla="*/ 0 h 369332"/>
              <a:gd name="connsiteX6" fmla="*/ 2422073 w 2422073"/>
              <a:gd name="connsiteY6" fmla="*/ 369332 h 369332"/>
              <a:gd name="connsiteX7" fmla="*/ 1937658 w 2422073"/>
              <a:gd name="connsiteY7" fmla="*/ 369332 h 369332"/>
              <a:gd name="connsiteX8" fmla="*/ 1404802 w 2422073"/>
              <a:gd name="connsiteY8" fmla="*/ 369332 h 369332"/>
              <a:gd name="connsiteX9" fmla="*/ 993050 w 2422073"/>
              <a:gd name="connsiteY9" fmla="*/ 369332 h 369332"/>
              <a:gd name="connsiteX10" fmla="*/ 508635 w 2422073"/>
              <a:gd name="connsiteY10" fmla="*/ 369332 h 369332"/>
              <a:gd name="connsiteX11" fmla="*/ 0 w 2422073"/>
              <a:gd name="connsiteY11" fmla="*/ 369332 h 369332"/>
              <a:gd name="connsiteX12" fmla="*/ 0 w 2422073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22073" h="369332" extrusionOk="0">
                <a:moveTo>
                  <a:pt x="0" y="0"/>
                </a:moveTo>
                <a:cubicBezTo>
                  <a:pt x="199693" y="-10251"/>
                  <a:pt x="246167" y="30869"/>
                  <a:pt x="460194" y="0"/>
                </a:cubicBezTo>
                <a:cubicBezTo>
                  <a:pt x="674221" y="-30869"/>
                  <a:pt x="708354" y="1783"/>
                  <a:pt x="871946" y="0"/>
                </a:cubicBezTo>
                <a:cubicBezTo>
                  <a:pt x="1035538" y="-1783"/>
                  <a:pt x="1215339" y="49588"/>
                  <a:pt x="1404802" y="0"/>
                </a:cubicBezTo>
                <a:cubicBezTo>
                  <a:pt x="1594265" y="-49588"/>
                  <a:pt x="1640279" y="31720"/>
                  <a:pt x="1864996" y="0"/>
                </a:cubicBezTo>
                <a:cubicBezTo>
                  <a:pt x="2089713" y="-31720"/>
                  <a:pt x="2225679" y="45722"/>
                  <a:pt x="2422073" y="0"/>
                </a:cubicBezTo>
                <a:cubicBezTo>
                  <a:pt x="2458233" y="81226"/>
                  <a:pt x="2400535" y="278722"/>
                  <a:pt x="2422073" y="369332"/>
                </a:cubicBezTo>
                <a:cubicBezTo>
                  <a:pt x="2243299" y="402811"/>
                  <a:pt x="2104963" y="338227"/>
                  <a:pt x="1937658" y="369332"/>
                </a:cubicBezTo>
                <a:cubicBezTo>
                  <a:pt x="1770354" y="400437"/>
                  <a:pt x="1620687" y="307360"/>
                  <a:pt x="1404802" y="369332"/>
                </a:cubicBezTo>
                <a:cubicBezTo>
                  <a:pt x="1188917" y="431304"/>
                  <a:pt x="1131819" y="335684"/>
                  <a:pt x="993050" y="369332"/>
                </a:cubicBezTo>
                <a:cubicBezTo>
                  <a:pt x="854281" y="402980"/>
                  <a:pt x="704761" y="348963"/>
                  <a:pt x="508635" y="369332"/>
                </a:cubicBezTo>
                <a:cubicBezTo>
                  <a:pt x="312510" y="389701"/>
                  <a:pt x="246365" y="328998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Operations/Onboarding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29254" y="4337825"/>
            <a:ext cx="1270677" cy="386034"/>
          </a:xfrm>
          <a:custGeom>
            <a:avLst/>
            <a:gdLst>
              <a:gd name="connsiteX0" fmla="*/ 0 w 1270677"/>
              <a:gd name="connsiteY0" fmla="*/ 64340 h 386034"/>
              <a:gd name="connsiteX1" fmla="*/ 64340 w 1270677"/>
              <a:gd name="connsiteY1" fmla="*/ 0 h 386034"/>
              <a:gd name="connsiteX2" fmla="*/ 658178 w 1270677"/>
              <a:gd name="connsiteY2" fmla="*/ 0 h 386034"/>
              <a:gd name="connsiteX3" fmla="*/ 1206337 w 1270677"/>
              <a:gd name="connsiteY3" fmla="*/ 0 h 386034"/>
              <a:gd name="connsiteX4" fmla="*/ 1270677 w 1270677"/>
              <a:gd name="connsiteY4" fmla="*/ 64340 h 386034"/>
              <a:gd name="connsiteX5" fmla="*/ 1270677 w 1270677"/>
              <a:gd name="connsiteY5" fmla="*/ 321694 h 386034"/>
              <a:gd name="connsiteX6" fmla="*/ 1206337 w 1270677"/>
              <a:gd name="connsiteY6" fmla="*/ 386034 h 386034"/>
              <a:gd name="connsiteX7" fmla="*/ 635339 w 1270677"/>
              <a:gd name="connsiteY7" fmla="*/ 386034 h 386034"/>
              <a:gd name="connsiteX8" fmla="*/ 64340 w 1270677"/>
              <a:gd name="connsiteY8" fmla="*/ 386034 h 386034"/>
              <a:gd name="connsiteX9" fmla="*/ 0 w 1270677"/>
              <a:gd name="connsiteY9" fmla="*/ 321694 h 386034"/>
              <a:gd name="connsiteX10" fmla="*/ 0 w 1270677"/>
              <a:gd name="connsiteY10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0677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305104" y="-12353"/>
                  <a:pt x="404359" y="-13726"/>
                  <a:pt x="658178" y="0"/>
                </a:cubicBezTo>
                <a:cubicBezTo>
                  <a:pt x="911997" y="13726"/>
                  <a:pt x="1013716" y="-11684"/>
                  <a:pt x="1206337" y="0"/>
                </a:cubicBezTo>
                <a:cubicBezTo>
                  <a:pt x="1234352" y="-4114"/>
                  <a:pt x="1274606" y="30683"/>
                  <a:pt x="1270677" y="64340"/>
                </a:cubicBezTo>
                <a:cubicBezTo>
                  <a:pt x="1276931" y="162416"/>
                  <a:pt x="1279897" y="205598"/>
                  <a:pt x="1270677" y="321694"/>
                </a:cubicBezTo>
                <a:cubicBezTo>
                  <a:pt x="1272476" y="354301"/>
                  <a:pt x="1236545" y="390714"/>
                  <a:pt x="1206337" y="386034"/>
                </a:cubicBezTo>
                <a:cubicBezTo>
                  <a:pt x="1018204" y="391331"/>
                  <a:pt x="872347" y="408582"/>
                  <a:pt x="635339" y="386034"/>
                </a:cubicBezTo>
                <a:cubicBezTo>
                  <a:pt x="398331" y="363486"/>
                  <a:pt x="230275" y="367458"/>
                  <a:pt x="64340" y="386034"/>
                </a:cubicBezTo>
                <a:cubicBezTo>
                  <a:pt x="21150" y="385596"/>
                  <a:pt x="2276" y="350987"/>
                  <a:pt x="0" y="321694"/>
                </a:cubicBezTo>
                <a:cubicBezTo>
                  <a:pt x="3363" y="261429"/>
                  <a:pt x="10077" y="168251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8098358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2FC9430-89FA-B6F5-FF73-09BF4CD95552}"/>
              </a:ext>
            </a:extLst>
          </p:cNvPr>
          <p:cNvSpPr txBox="1">
            <a:spLocks/>
          </p:cNvSpPr>
          <p:nvPr/>
        </p:nvSpPr>
        <p:spPr>
          <a:xfrm>
            <a:off x="4398363" y="4349404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Key Principles</a:t>
            </a:r>
          </a:p>
          <a:p>
            <a:pPr>
              <a:buFontTx/>
              <a:buChar char="-"/>
            </a:pPr>
            <a:r>
              <a:rPr lang="en-US" sz="1600" dirty="0"/>
              <a:t>Source Control</a:t>
            </a:r>
          </a:p>
          <a:p>
            <a:pPr>
              <a:buFontTx/>
              <a:buChar char="-"/>
            </a:pPr>
            <a:r>
              <a:rPr lang="en-US" sz="1600" dirty="0"/>
              <a:t>Modularization and versioning</a:t>
            </a:r>
          </a:p>
          <a:p>
            <a:pPr>
              <a:buFontTx/>
              <a:buChar char="-"/>
            </a:pPr>
            <a:r>
              <a:rPr lang="en-US" sz="1600" dirty="0"/>
              <a:t>Idempotency</a:t>
            </a:r>
          </a:p>
          <a:p>
            <a:pPr>
              <a:buFontTx/>
              <a:buChar char="-"/>
            </a:pPr>
            <a:r>
              <a:rPr lang="en-US" sz="1600" dirty="0"/>
              <a:t>Immutability</a:t>
            </a:r>
          </a:p>
          <a:p>
            <a:pPr>
              <a:buFontTx/>
              <a:buChar char="-"/>
            </a:pPr>
            <a:r>
              <a:rPr lang="en-US" sz="1600" dirty="0"/>
              <a:t>CICD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8952275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9806192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FFC8AE4-5582-19C0-DED3-63D8270B8571}"/>
              </a:ext>
            </a:extLst>
          </p:cNvPr>
          <p:cNvGrpSpPr/>
          <p:nvPr/>
        </p:nvGrpSpPr>
        <p:grpSpPr>
          <a:xfrm>
            <a:off x="5075020" y="2636981"/>
            <a:ext cx="1491970" cy="1694291"/>
            <a:chOff x="3591201" y="2800773"/>
            <a:chExt cx="887513" cy="946980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804CD20B-D34E-E250-FE43-7F9A981600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>
              <a:extLst>
                <a:ext uri="{FF2B5EF4-FFF2-40B4-BE49-F238E27FC236}">
                  <a16:creationId xmlns:a16="http://schemas.microsoft.com/office/drawing/2014/main" id="{589B69B8-B088-4632-7BDA-773B26D65C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5E82655F-7EC7-C105-EAA2-389E5E131E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24EF291-C501-D101-0029-071EE9043CF4}"/>
              </a:ext>
            </a:extLst>
          </p:cNvPr>
          <p:cNvSpPr/>
          <p:nvPr/>
        </p:nvSpPr>
        <p:spPr>
          <a:xfrm>
            <a:off x="4187983" y="2655113"/>
            <a:ext cx="3083058" cy="3540825"/>
          </a:xfrm>
          <a:custGeom>
            <a:avLst/>
            <a:gdLst>
              <a:gd name="connsiteX0" fmla="*/ 0 w 3083058"/>
              <a:gd name="connsiteY0" fmla="*/ 513853 h 3540825"/>
              <a:gd name="connsiteX1" fmla="*/ 513853 w 3083058"/>
              <a:gd name="connsiteY1" fmla="*/ 0 h 3540825"/>
              <a:gd name="connsiteX2" fmla="*/ 1068798 w 3083058"/>
              <a:gd name="connsiteY2" fmla="*/ 0 h 3540825"/>
              <a:gd name="connsiteX3" fmla="*/ 1562083 w 3083058"/>
              <a:gd name="connsiteY3" fmla="*/ 0 h 3540825"/>
              <a:gd name="connsiteX4" fmla="*/ 2034813 w 3083058"/>
              <a:gd name="connsiteY4" fmla="*/ 0 h 3540825"/>
              <a:gd name="connsiteX5" fmla="*/ 2569205 w 3083058"/>
              <a:gd name="connsiteY5" fmla="*/ 0 h 3540825"/>
              <a:gd name="connsiteX6" fmla="*/ 3083058 w 3083058"/>
              <a:gd name="connsiteY6" fmla="*/ 513853 h 3540825"/>
              <a:gd name="connsiteX7" fmla="*/ 3083058 w 3083058"/>
              <a:gd name="connsiteY7" fmla="*/ 1016477 h 3540825"/>
              <a:gd name="connsiteX8" fmla="*/ 3083058 w 3083058"/>
              <a:gd name="connsiteY8" fmla="*/ 1569363 h 3540825"/>
              <a:gd name="connsiteX9" fmla="*/ 3083058 w 3083058"/>
              <a:gd name="connsiteY9" fmla="*/ 1996593 h 3540825"/>
              <a:gd name="connsiteX10" fmla="*/ 3083058 w 3083058"/>
              <a:gd name="connsiteY10" fmla="*/ 2499217 h 3540825"/>
              <a:gd name="connsiteX11" fmla="*/ 3083058 w 3083058"/>
              <a:gd name="connsiteY11" fmla="*/ 3026972 h 3540825"/>
              <a:gd name="connsiteX12" fmla="*/ 2569205 w 3083058"/>
              <a:gd name="connsiteY12" fmla="*/ 3540825 h 3540825"/>
              <a:gd name="connsiteX13" fmla="*/ 2055367 w 3083058"/>
              <a:gd name="connsiteY13" fmla="*/ 3540825 h 3540825"/>
              <a:gd name="connsiteX14" fmla="*/ 1582636 w 3083058"/>
              <a:gd name="connsiteY14" fmla="*/ 3540825 h 3540825"/>
              <a:gd name="connsiteX15" fmla="*/ 1068798 w 3083058"/>
              <a:gd name="connsiteY15" fmla="*/ 3540825 h 3540825"/>
              <a:gd name="connsiteX16" fmla="*/ 513853 w 3083058"/>
              <a:gd name="connsiteY16" fmla="*/ 3540825 h 3540825"/>
              <a:gd name="connsiteX17" fmla="*/ 0 w 3083058"/>
              <a:gd name="connsiteY17" fmla="*/ 3026972 h 3540825"/>
              <a:gd name="connsiteX18" fmla="*/ 0 w 3083058"/>
              <a:gd name="connsiteY18" fmla="*/ 2599742 h 3540825"/>
              <a:gd name="connsiteX19" fmla="*/ 0 w 3083058"/>
              <a:gd name="connsiteY19" fmla="*/ 2046856 h 3540825"/>
              <a:gd name="connsiteX20" fmla="*/ 0 w 3083058"/>
              <a:gd name="connsiteY20" fmla="*/ 1544232 h 3540825"/>
              <a:gd name="connsiteX21" fmla="*/ 0 w 3083058"/>
              <a:gd name="connsiteY21" fmla="*/ 1091870 h 3540825"/>
              <a:gd name="connsiteX22" fmla="*/ 0 w 3083058"/>
              <a:gd name="connsiteY22" fmla="*/ 513853 h 354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083058" h="3540825" extrusionOk="0">
                <a:moveTo>
                  <a:pt x="0" y="513853"/>
                </a:moveTo>
                <a:cubicBezTo>
                  <a:pt x="-63821" y="190694"/>
                  <a:pt x="187314" y="16043"/>
                  <a:pt x="513853" y="0"/>
                </a:cubicBezTo>
                <a:cubicBezTo>
                  <a:pt x="713129" y="-14821"/>
                  <a:pt x="869427" y="28123"/>
                  <a:pt x="1068798" y="0"/>
                </a:cubicBezTo>
                <a:cubicBezTo>
                  <a:pt x="1268169" y="-28123"/>
                  <a:pt x="1317565" y="57900"/>
                  <a:pt x="1562083" y="0"/>
                </a:cubicBezTo>
                <a:cubicBezTo>
                  <a:pt x="1806601" y="-57900"/>
                  <a:pt x="1851761" y="11437"/>
                  <a:pt x="2034813" y="0"/>
                </a:cubicBezTo>
                <a:cubicBezTo>
                  <a:pt x="2217865" y="-11437"/>
                  <a:pt x="2452544" y="48083"/>
                  <a:pt x="2569205" y="0"/>
                </a:cubicBezTo>
                <a:cubicBezTo>
                  <a:pt x="2873950" y="-43120"/>
                  <a:pt x="3066959" y="227595"/>
                  <a:pt x="3083058" y="513853"/>
                </a:cubicBezTo>
                <a:cubicBezTo>
                  <a:pt x="3084645" y="647007"/>
                  <a:pt x="3071786" y="798711"/>
                  <a:pt x="3083058" y="1016477"/>
                </a:cubicBezTo>
                <a:cubicBezTo>
                  <a:pt x="3094330" y="1234243"/>
                  <a:pt x="3034871" y="1414205"/>
                  <a:pt x="3083058" y="1569363"/>
                </a:cubicBezTo>
                <a:cubicBezTo>
                  <a:pt x="3131245" y="1724521"/>
                  <a:pt x="3040623" y="1860339"/>
                  <a:pt x="3083058" y="1996593"/>
                </a:cubicBezTo>
                <a:cubicBezTo>
                  <a:pt x="3125493" y="2132847"/>
                  <a:pt x="3073548" y="2354671"/>
                  <a:pt x="3083058" y="2499217"/>
                </a:cubicBezTo>
                <a:cubicBezTo>
                  <a:pt x="3092568" y="2643763"/>
                  <a:pt x="3046948" y="2798149"/>
                  <a:pt x="3083058" y="3026972"/>
                </a:cubicBezTo>
                <a:cubicBezTo>
                  <a:pt x="3128088" y="3266268"/>
                  <a:pt x="2908958" y="3504742"/>
                  <a:pt x="2569205" y="3540825"/>
                </a:cubicBezTo>
                <a:cubicBezTo>
                  <a:pt x="2439243" y="3581174"/>
                  <a:pt x="2174681" y="3489289"/>
                  <a:pt x="2055367" y="3540825"/>
                </a:cubicBezTo>
                <a:cubicBezTo>
                  <a:pt x="1936053" y="3592361"/>
                  <a:pt x="1730368" y="3534225"/>
                  <a:pt x="1582636" y="3540825"/>
                </a:cubicBezTo>
                <a:cubicBezTo>
                  <a:pt x="1434904" y="3547425"/>
                  <a:pt x="1224339" y="3521937"/>
                  <a:pt x="1068798" y="3540825"/>
                </a:cubicBezTo>
                <a:cubicBezTo>
                  <a:pt x="913257" y="3559713"/>
                  <a:pt x="735699" y="3485737"/>
                  <a:pt x="513853" y="3540825"/>
                </a:cubicBezTo>
                <a:cubicBezTo>
                  <a:pt x="219566" y="3509258"/>
                  <a:pt x="76651" y="3295193"/>
                  <a:pt x="0" y="3026972"/>
                </a:cubicBezTo>
                <a:cubicBezTo>
                  <a:pt x="-33977" y="2891023"/>
                  <a:pt x="13887" y="2801848"/>
                  <a:pt x="0" y="2599742"/>
                </a:cubicBezTo>
                <a:cubicBezTo>
                  <a:pt x="-13887" y="2397636"/>
                  <a:pt x="41711" y="2235790"/>
                  <a:pt x="0" y="2046856"/>
                </a:cubicBezTo>
                <a:cubicBezTo>
                  <a:pt x="-41711" y="1857922"/>
                  <a:pt x="34097" y="1747840"/>
                  <a:pt x="0" y="1544232"/>
                </a:cubicBezTo>
                <a:cubicBezTo>
                  <a:pt x="-34097" y="1340624"/>
                  <a:pt x="25886" y="1240929"/>
                  <a:pt x="0" y="1091870"/>
                </a:cubicBezTo>
                <a:cubicBezTo>
                  <a:pt x="-25886" y="942811"/>
                  <a:pt x="64959" y="742895"/>
                  <a:pt x="0" y="513853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11877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8D79A74-918D-0D24-3CD3-FB6E2FE8B1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9489" y="2062933"/>
            <a:ext cx="5270500" cy="43478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Template Specs UI </a:t>
            </a:r>
            <a:r>
              <a:rPr lang="en-US" i="0" u="none" strike="noStrike" dirty="0"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alls to Entra Id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23C2E65-D17D-5264-F977-99956173EC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40030" y="2866367"/>
            <a:ext cx="5492481" cy="2845460"/>
          </a:xfrm>
          <a:prstGeom prst="rect">
            <a:avLst/>
          </a:prstGeom>
        </p:spPr>
      </p:pic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BD84ADEE-E752-F94E-D844-A11CD79F3FD8}"/>
              </a:ext>
            </a:extLst>
          </p:cNvPr>
          <p:cNvSpPr/>
          <p:nvPr/>
        </p:nvSpPr>
        <p:spPr>
          <a:xfrm>
            <a:off x="817879" y="2402840"/>
            <a:ext cx="3383281" cy="355600"/>
          </a:xfrm>
          <a:custGeom>
            <a:avLst/>
            <a:gdLst>
              <a:gd name="connsiteX0" fmla="*/ 0 w 3383281"/>
              <a:gd name="connsiteY0" fmla="*/ 59268 h 355600"/>
              <a:gd name="connsiteX1" fmla="*/ 59268 w 3383281"/>
              <a:gd name="connsiteY1" fmla="*/ 0 h 355600"/>
              <a:gd name="connsiteX2" fmla="*/ 646922 w 3383281"/>
              <a:gd name="connsiteY2" fmla="*/ 0 h 355600"/>
              <a:gd name="connsiteX3" fmla="*/ 1267224 w 3383281"/>
              <a:gd name="connsiteY3" fmla="*/ 0 h 355600"/>
              <a:gd name="connsiteX4" fmla="*/ 1854878 w 3383281"/>
              <a:gd name="connsiteY4" fmla="*/ 0 h 355600"/>
              <a:gd name="connsiteX5" fmla="*/ 2540474 w 3383281"/>
              <a:gd name="connsiteY5" fmla="*/ 0 h 355600"/>
              <a:gd name="connsiteX6" fmla="*/ 3324013 w 3383281"/>
              <a:gd name="connsiteY6" fmla="*/ 0 h 355600"/>
              <a:gd name="connsiteX7" fmla="*/ 3383281 w 3383281"/>
              <a:gd name="connsiteY7" fmla="*/ 59268 h 355600"/>
              <a:gd name="connsiteX8" fmla="*/ 3383281 w 3383281"/>
              <a:gd name="connsiteY8" fmla="*/ 296332 h 355600"/>
              <a:gd name="connsiteX9" fmla="*/ 3324013 w 3383281"/>
              <a:gd name="connsiteY9" fmla="*/ 355600 h 355600"/>
              <a:gd name="connsiteX10" fmla="*/ 2605769 w 3383281"/>
              <a:gd name="connsiteY10" fmla="*/ 355600 h 355600"/>
              <a:gd name="connsiteX11" fmla="*/ 2018115 w 3383281"/>
              <a:gd name="connsiteY11" fmla="*/ 355600 h 355600"/>
              <a:gd name="connsiteX12" fmla="*/ 1332519 w 3383281"/>
              <a:gd name="connsiteY12" fmla="*/ 355600 h 355600"/>
              <a:gd name="connsiteX13" fmla="*/ 679570 w 3383281"/>
              <a:gd name="connsiteY13" fmla="*/ 355600 h 355600"/>
              <a:gd name="connsiteX14" fmla="*/ 59268 w 3383281"/>
              <a:gd name="connsiteY14" fmla="*/ 355600 h 355600"/>
              <a:gd name="connsiteX15" fmla="*/ 0 w 3383281"/>
              <a:gd name="connsiteY15" fmla="*/ 296332 h 355600"/>
              <a:gd name="connsiteX16" fmla="*/ 0 w 3383281"/>
              <a:gd name="connsiteY16" fmla="*/ 59268 h 35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383281" h="355600" extrusionOk="0">
                <a:moveTo>
                  <a:pt x="0" y="59268"/>
                </a:moveTo>
                <a:cubicBezTo>
                  <a:pt x="3005" y="26892"/>
                  <a:pt x="24120" y="-3250"/>
                  <a:pt x="59268" y="0"/>
                </a:cubicBezTo>
                <a:cubicBezTo>
                  <a:pt x="180762" y="-16062"/>
                  <a:pt x="353106" y="-9918"/>
                  <a:pt x="646922" y="0"/>
                </a:cubicBezTo>
                <a:cubicBezTo>
                  <a:pt x="940738" y="9918"/>
                  <a:pt x="1074640" y="10375"/>
                  <a:pt x="1267224" y="0"/>
                </a:cubicBezTo>
                <a:cubicBezTo>
                  <a:pt x="1459808" y="-10375"/>
                  <a:pt x="1645112" y="27760"/>
                  <a:pt x="1854878" y="0"/>
                </a:cubicBezTo>
                <a:cubicBezTo>
                  <a:pt x="2064644" y="-27760"/>
                  <a:pt x="2326604" y="19255"/>
                  <a:pt x="2540474" y="0"/>
                </a:cubicBezTo>
                <a:cubicBezTo>
                  <a:pt x="2754344" y="-19255"/>
                  <a:pt x="2964364" y="27780"/>
                  <a:pt x="3324013" y="0"/>
                </a:cubicBezTo>
                <a:cubicBezTo>
                  <a:pt x="3360453" y="2387"/>
                  <a:pt x="3386298" y="22969"/>
                  <a:pt x="3383281" y="59268"/>
                </a:cubicBezTo>
                <a:cubicBezTo>
                  <a:pt x="3375330" y="167840"/>
                  <a:pt x="3382529" y="195293"/>
                  <a:pt x="3383281" y="296332"/>
                </a:cubicBezTo>
                <a:cubicBezTo>
                  <a:pt x="3388103" y="334635"/>
                  <a:pt x="3360747" y="350623"/>
                  <a:pt x="3324013" y="355600"/>
                </a:cubicBezTo>
                <a:cubicBezTo>
                  <a:pt x="3001791" y="358447"/>
                  <a:pt x="2933053" y="334481"/>
                  <a:pt x="2605769" y="355600"/>
                </a:cubicBezTo>
                <a:cubicBezTo>
                  <a:pt x="2278485" y="376719"/>
                  <a:pt x="2285718" y="372349"/>
                  <a:pt x="2018115" y="355600"/>
                </a:cubicBezTo>
                <a:cubicBezTo>
                  <a:pt x="1750512" y="338851"/>
                  <a:pt x="1615149" y="389325"/>
                  <a:pt x="1332519" y="355600"/>
                </a:cubicBezTo>
                <a:cubicBezTo>
                  <a:pt x="1049889" y="321875"/>
                  <a:pt x="961844" y="339083"/>
                  <a:pt x="679570" y="355600"/>
                </a:cubicBezTo>
                <a:cubicBezTo>
                  <a:pt x="397296" y="372117"/>
                  <a:pt x="263541" y="366793"/>
                  <a:pt x="59268" y="355600"/>
                </a:cubicBezTo>
                <a:cubicBezTo>
                  <a:pt x="23371" y="359493"/>
                  <a:pt x="-1528" y="332155"/>
                  <a:pt x="0" y="296332"/>
                </a:cubicBezTo>
                <a:cubicBezTo>
                  <a:pt x="4578" y="180065"/>
                  <a:pt x="-7433" y="116832"/>
                  <a:pt x="0" y="59268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EDDCD15-65B7-F44F-0FB9-1A87944D7074}"/>
              </a:ext>
            </a:extLst>
          </p:cNvPr>
          <p:cNvSpPr txBox="1"/>
          <p:nvPr/>
        </p:nvSpPr>
        <p:spPr>
          <a:xfrm>
            <a:off x="4128557" y="2442140"/>
            <a:ext cx="26618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Transform blade output using </a:t>
            </a:r>
            <a:r>
              <a:rPr lang="en-US" sz="1200" dirty="0" err="1">
                <a:solidFill>
                  <a:srgbClr val="FF0000"/>
                </a:solidFill>
              </a:rPr>
              <a:t>JMESPath</a:t>
            </a: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E99839D6-75B4-8C05-B7FA-1D3403C84BF5}"/>
              </a:ext>
            </a:extLst>
          </p:cNvPr>
          <p:cNvSpPr/>
          <p:nvPr/>
        </p:nvSpPr>
        <p:spPr>
          <a:xfrm>
            <a:off x="817878" y="2758439"/>
            <a:ext cx="3703322" cy="107928"/>
          </a:xfrm>
          <a:custGeom>
            <a:avLst/>
            <a:gdLst>
              <a:gd name="connsiteX0" fmla="*/ 0 w 3703322"/>
              <a:gd name="connsiteY0" fmla="*/ 17988 h 107928"/>
              <a:gd name="connsiteX1" fmla="*/ 17988 w 3703322"/>
              <a:gd name="connsiteY1" fmla="*/ 0 h 107928"/>
              <a:gd name="connsiteX2" fmla="*/ 555865 w 3703322"/>
              <a:gd name="connsiteY2" fmla="*/ 0 h 107928"/>
              <a:gd name="connsiteX3" fmla="*/ 1130416 w 3703322"/>
              <a:gd name="connsiteY3" fmla="*/ 0 h 107928"/>
              <a:gd name="connsiteX4" fmla="*/ 1668294 w 3703322"/>
              <a:gd name="connsiteY4" fmla="*/ 0 h 107928"/>
              <a:gd name="connsiteX5" fmla="*/ 2316191 w 3703322"/>
              <a:gd name="connsiteY5" fmla="*/ 0 h 107928"/>
              <a:gd name="connsiteX6" fmla="*/ 2964089 w 3703322"/>
              <a:gd name="connsiteY6" fmla="*/ 0 h 107928"/>
              <a:gd name="connsiteX7" fmla="*/ 3685334 w 3703322"/>
              <a:gd name="connsiteY7" fmla="*/ 0 h 107928"/>
              <a:gd name="connsiteX8" fmla="*/ 3703322 w 3703322"/>
              <a:gd name="connsiteY8" fmla="*/ 17988 h 107928"/>
              <a:gd name="connsiteX9" fmla="*/ 3703322 w 3703322"/>
              <a:gd name="connsiteY9" fmla="*/ 89940 h 107928"/>
              <a:gd name="connsiteX10" fmla="*/ 3685334 w 3703322"/>
              <a:gd name="connsiteY10" fmla="*/ 107928 h 107928"/>
              <a:gd name="connsiteX11" fmla="*/ 3037436 w 3703322"/>
              <a:gd name="connsiteY11" fmla="*/ 107928 h 107928"/>
              <a:gd name="connsiteX12" fmla="*/ 2389538 w 3703322"/>
              <a:gd name="connsiteY12" fmla="*/ 107928 h 107928"/>
              <a:gd name="connsiteX13" fmla="*/ 1778314 w 3703322"/>
              <a:gd name="connsiteY13" fmla="*/ 107928 h 107928"/>
              <a:gd name="connsiteX14" fmla="*/ 1167090 w 3703322"/>
              <a:gd name="connsiteY14" fmla="*/ 107928 h 107928"/>
              <a:gd name="connsiteX15" fmla="*/ 629212 w 3703322"/>
              <a:gd name="connsiteY15" fmla="*/ 107928 h 107928"/>
              <a:gd name="connsiteX16" fmla="*/ 17988 w 3703322"/>
              <a:gd name="connsiteY16" fmla="*/ 107928 h 107928"/>
              <a:gd name="connsiteX17" fmla="*/ 0 w 3703322"/>
              <a:gd name="connsiteY17" fmla="*/ 89940 h 107928"/>
              <a:gd name="connsiteX18" fmla="*/ 0 w 3703322"/>
              <a:gd name="connsiteY18" fmla="*/ 17988 h 107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703322" h="107928" extrusionOk="0">
                <a:moveTo>
                  <a:pt x="0" y="17988"/>
                </a:moveTo>
                <a:cubicBezTo>
                  <a:pt x="443" y="8107"/>
                  <a:pt x="6969" y="-1460"/>
                  <a:pt x="17988" y="0"/>
                </a:cubicBezTo>
                <a:cubicBezTo>
                  <a:pt x="227714" y="10185"/>
                  <a:pt x="369384" y="-26850"/>
                  <a:pt x="555865" y="0"/>
                </a:cubicBezTo>
                <a:cubicBezTo>
                  <a:pt x="742346" y="26850"/>
                  <a:pt x="984194" y="14566"/>
                  <a:pt x="1130416" y="0"/>
                </a:cubicBezTo>
                <a:cubicBezTo>
                  <a:pt x="1276638" y="-14566"/>
                  <a:pt x="1555240" y="-23257"/>
                  <a:pt x="1668294" y="0"/>
                </a:cubicBezTo>
                <a:cubicBezTo>
                  <a:pt x="1781348" y="23257"/>
                  <a:pt x="2055281" y="4870"/>
                  <a:pt x="2316191" y="0"/>
                </a:cubicBezTo>
                <a:cubicBezTo>
                  <a:pt x="2577101" y="-4870"/>
                  <a:pt x="2792838" y="12646"/>
                  <a:pt x="2964089" y="0"/>
                </a:cubicBezTo>
                <a:cubicBezTo>
                  <a:pt x="3135340" y="-12646"/>
                  <a:pt x="3531434" y="29175"/>
                  <a:pt x="3685334" y="0"/>
                </a:cubicBezTo>
                <a:cubicBezTo>
                  <a:pt x="3696431" y="1090"/>
                  <a:pt x="3702776" y="7498"/>
                  <a:pt x="3703322" y="17988"/>
                </a:cubicBezTo>
                <a:cubicBezTo>
                  <a:pt x="3702437" y="44731"/>
                  <a:pt x="3701444" y="65628"/>
                  <a:pt x="3703322" y="89940"/>
                </a:cubicBezTo>
                <a:cubicBezTo>
                  <a:pt x="3703237" y="98850"/>
                  <a:pt x="3695268" y="107051"/>
                  <a:pt x="3685334" y="107928"/>
                </a:cubicBezTo>
                <a:cubicBezTo>
                  <a:pt x="3395043" y="101351"/>
                  <a:pt x="3343864" y="139586"/>
                  <a:pt x="3037436" y="107928"/>
                </a:cubicBezTo>
                <a:cubicBezTo>
                  <a:pt x="2731008" y="76270"/>
                  <a:pt x="2519326" y="100373"/>
                  <a:pt x="2389538" y="107928"/>
                </a:cubicBezTo>
                <a:cubicBezTo>
                  <a:pt x="2259750" y="115483"/>
                  <a:pt x="1926298" y="112319"/>
                  <a:pt x="1778314" y="107928"/>
                </a:cubicBezTo>
                <a:cubicBezTo>
                  <a:pt x="1630330" y="103537"/>
                  <a:pt x="1321886" y="126664"/>
                  <a:pt x="1167090" y="107928"/>
                </a:cubicBezTo>
                <a:cubicBezTo>
                  <a:pt x="1012294" y="89192"/>
                  <a:pt x="824870" y="107315"/>
                  <a:pt x="629212" y="107928"/>
                </a:cubicBezTo>
                <a:cubicBezTo>
                  <a:pt x="433554" y="108541"/>
                  <a:pt x="298938" y="130840"/>
                  <a:pt x="17988" y="107928"/>
                </a:cubicBezTo>
                <a:cubicBezTo>
                  <a:pt x="10222" y="107468"/>
                  <a:pt x="772" y="100423"/>
                  <a:pt x="0" y="89940"/>
                </a:cubicBezTo>
                <a:cubicBezTo>
                  <a:pt x="3015" y="61736"/>
                  <a:pt x="444" y="50616"/>
                  <a:pt x="0" y="17988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6E501D0-74BF-C6E4-7DFF-C79570BE3990}"/>
              </a:ext>
            </a:extLst>
          </p:cNvPr>
          <p:cNvSpPr txBox="1"/>
          <p:nvPr/>
        </p:nvSpPr>
        <p:spPr>
          <a:xfrm>
            <a:off x="4443517" y="2673903"/>
            <a:ext cx="174759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When should blade open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CCF59204-0A60-0912-9548-A1C6E1518D46}"/>
              </a:ext>
            </a:extLst>
          </p:cNvPr>
          <p:cNvSpPr/>
          <p:nvPr/>
        </p:nvSpPr>
        <p:spPr>
          <a:xfrm>
            <a:off x="1021078" y="2971182"/>
            <a:ext cx="1579882" cy="255345"/>
          </a:xfrm>
          <a:custGeom>
            <a:avLst/>
            <a:gdLst>
              <a:gd name="connsiteX0" fmla="*/ 0 w 1579882"/>
              <a:gd name="connsiteY0" fmla="*/ 42558 h 255345"/>
              <a:gd name="connsiteX1" fmla="*/ 42558 w 1579882"/>
              <a:gd name="connsiteY1" fmla="*/ 0 h 255345"/>
              <a:gd name="connsiteX2" fmla="*/ 510918 w 1579882"/>
              <a:gd name="connsiteY2" fmla="*/ 0 h 255345"/>
              <a:gd name="connsiteX3" fmla="*/ 994226 w 1579882"/>
              <a:gd name="connsiteY3" fmla="*/ 0 h 255345"/>
              <a:gd name="connsiteX4" fmla="*/ 1537324 w 1579882"/>
              <a:gd name="connsiteY4" fmla="*/ 0 h 255345"/>
              <a:gd name="connsiteX5" fmla="*/ 1579882 w 1579882"/>
              <a:gd name="connsiteY5" fmla="*/ 42558 h 255345"/>
              <a:gd name="connsiteX6" fmla="*/ 1579882 w 1579882"/>
              <a:gd name="connsiteY6" fmla="*/ 212787 h 255345"/>
              <a:gd name="connsiteX7" fmla="*/ 1537324 w 1579882"/>
              <a:gd name="connsiteY7" fmla="*/ 255345 h 255345"/>
              <a:gd name="connsiteX8" fmla="*/ 1024121 w 1579882"/>
              <a:gd name="connsiteY8" fmla="*/ 255345 h 255345"/>
              <a:gd name="connsiteX9" fmla="*/ 540813 w 1579882"/>
              <a:gd name="connsiteY9" fmla="*/ 255345 h 255345"/>
              <a:gd name="connsiteX10" fmla="*/ 42558 w 1579882"/>
              <a:gd name="connsiteY10" fmla="*/ 255345 h 255345"/>
              <a:gd name="connsiteX11" fmla="*/ 0 w 1579882"/>
              <a:gd name="connsiteY11" fmla="*/ 212787 h 255345"/>
              <a:gd name="connsiteX12" fmla="*/ 0 w 1579882"/>
              <a:gd name="connsiteY12" fmla="*/ 42558 h 255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79882" h="255345" extrusionOk="0">
                <a:moveTo>
                  <a:pt x="0" y="42558"/>
                </a:moveTo>
                <a:cubicBezTo>
                  <a:pt x="3315" y="19448"/>
                  <a:pt x="18061" y="-1335"/>
                  <a:pt x="42558" y="0"/>
                </a:cubicBezTo>
                <a:cubicBezTo>
                  <a:pt x="145141" y="-18224"/>
                  <a:pt x="388590" y="9770"/>
                  <a:pt x="510918" y="0"/>
                </a:cubicBezTo>
                <a:cubicBezTo>
                  <a:pt x="633246" y="-9770"/>
                  <a:pt x="849998" y="-3768"/>
                  <a:pt x="994226" y="0"/>
                </a:cubicBezTo>
                <a:cubicBezTo>
                  <a:pt x="1138454" y="3768"/>
                  <a:pt x="1420354" y="-16661"/>
                  <a:pt x="1537324" y="0"/>
                </a:cubicBezTo>
                <a:cubicBezTo>
                  <a:pt x="1561737" y="2766"/>
                  <a:pt x="1580028" y="23390"/>
                  <a:pt x="1579882" y="42558"/>
                </a:cubicBezTo>
                <a:cubicBezTo>
                  <a:pt x="1578061" y="108659"/>
                  <a:pt x="1578274" y="152374"/>
                  <a:pt x="1579882" y="212787"/>
                </a:cubicBezTo>
                <a:cubicBezTo>
                  <a:pt x="1580693" y="237052"/>
                  <a:pt x="1558447" y="252918"/>
                  <a:pt x="1537324" y="255345"/>
                </a:cubicBezTo>
                <a:cubicBezTo>
                  <a:pt x="1324077" y="250598"/>
                  <a:pt x="1172130" y="231606"/>
                  <a:pt x="1024121" y="255345"/>
                </a:cubicBezTo>
                <a:cubicBezTo>
                  <a:pt x="876112" y="279084"/>
                  <a:pt x="644801" y="256630"/>
                  <a:pt x="540813" y="255345"/>
                </a:cubicBezTo>
                <a:cubicBezTo>
                  <a:pt x="436825" y="254060"/>
                  <a:pt x="169739" y="262941"/>
                  <a:pt x="42558" y="255345"/>
                </a:cubicBezTo>
                <a:cubicBezTo>
                  <a:pt x="20002" y="259974"/>
                  <a:pt x="2929" y="239735"/>
                  <a:pt x="0" y="212787"/>
                </a:cubicBezTo>
                <a:cubicBezTo>
                  <a:pt x="426" y="143533"/>
                  <a:pt x="6523" y="109860"/>
                  <a:pt x="0" y="42558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D0516A6-D03A-0C00-9AC5-0957BF76296D}"/>
              </a:ext>
            </a:extLst>
          </p:cNvPr>
          <p:cNvSpPr txBox="1"/>
          <p:nvPr/>
        </p:nvSpPr>
        <p:spPr>
          <a:xfrm>
            <a:off x="2509519" y="2971182"/>
            <a:ext cx="96372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Which blade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7D266E28-09B5-2E0F-7809-EE400E313513}"/>
              </a:ext>
            </a:extLst>
          </p:cNvPr>
          <p:cNvSpPr/>
          <p:nvPr/>
        </p:nvSpPr>
        <p:spPr>
          <a:xfrm>
            <a:off x="1173478" y="3313034"/>
            <a:ext cx="3027682" cy="1058786"/>
          </a:xfrm>
          <a:custGeom>
            <a:avLst/>
            <a:gdLst>
              <a:gd name="connsiteX0" fmla="*/ 0 w 3027682"/>
              <a:gd name="connsiteY0" fmla="*/ 176468 h 1058786"/>
              <a:gd name="connsiteX1" fmla="*/ 176468 w 3027682"/>
              <a:gd name="connsiteY1" fmla="*/ 0 h 1058786"/>
              <a:gd name="connsiteX2" fmla="*/ 791660 w 3027682"/>
              <a:gd name="connsiteY2" fmla="*/ 0 h 1058786"/>
              <a:gd name="connsiteX3" fmla="*/ 1433599 w 3027682"/>
              <a:gd name="connsiteY3" fmla="*/ 0 h 1058786"/>
              <a:gd name="connsiteX4" fmla="*/ 2048790 w 3027682"/>
              <a:gd name="connsiteY4" fmla="*/ 0 h 1058786"/>
              <a:gd name="connsiteX5" fmla="*/ 2851214 w 3027682"/>
              <a:gd name="connsiteY5" fmla="*/ 0 h 1058786"/>
              <a:gd name="connsiteX6" fmla="*/ 3027682 w 3027682"/>
              <a:gd name="connsiteY6" fmla="*/ 176468 h 1058786"/>
              <a:gd name="connsiteX7" fmla="*/ 3027682 w 3027682"/>
              <a:gd name="connsiteY7" fmla="*/ 515276 h 1058786"/>
              <a:gd name="connsiteX8" fmla="*/ 3027682 w 3027682"/>
              <a:gd name="connsiteY8" fmla="*/ 882318 h 1058786"/>
              <a:gd name="connsiteX9" fmla="*/ 2851214 w 3027682"/>
              <a:gd name="connsiteY9" fmla="*/ 1058786 h 1058786"/>
              <a:gd name="connsiteX10" fmla="*/ 2129033 w 3027682"/>
              <a:gd name="connsiteY10" fmla="*/ 1058786 h 1058786"/>
              <a:gd name="connsiteX11" fmla="*/ 1513841 w 3027682"/>
              <a:gd name="connsiteY11" fmla="*/ 1058786 h 1058786"/>
              <a:gd name="connsiteX12" fmla="*/ 818407 w 3027682"/>
              <a:gd name="connsiteY12" fmla="*/ 1058786 h 1058786"/>
              <a:gd name="connsiteX13" fmla="*/ 176468 w 3027682"/>
              <a:gd name="connsiteY13" fmla="*/ 1058786 h 1058786"/>
              <a:gd name="connsiteX14" fmla="*/ 0 w 3027682"/>
              <a:gd name="connsiteY14" fmla="*/ 882318 h 1058786"/>
              <a:gd name="connsiteX15" fmla="*/ 0 w 3027682"/>
              <a:gd name="connsiteY15" fmla="*/ 536452 h 1058786"/>
              <a:gd name="connsiteX16" fmla="*/ 0 w 3027682"/>
              <a:gd name="connsiteY16" fmla="*/ 176468 h 1058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027682" h="1058786" extrusionOk="0">
                <a:moveTo>
                  <a:pt x="0" y="176468"/>
                </a:moveTo>
                <a:cubicBezTo>
                  <a:pt x="11040" y="80318"/>
                  <a:pt x="74927" y="-5489"/>
                  <a:pt x="176468" y="0"/>
                </a:cubicBezTo>
                <a:cubicBezTo>
                  <a:pt x="329983" y="-802"/>
                  <a:pt x="638182" y="1296"/>
                  <a:pt x="791660" y="0"/>
                </a:cubicBezTo>
                <a:cubicBezTo>
                  <a:pt x="945138" y="-1296"/>
                  <a:pt x="1120210" y="6847"/>
                  <a:pt x="1433599" y="0"/>
                </a:cubicBezTo>
                <a:cubicBezTo>
                  <a:pt x="1746988" y="-6847"/>
                  <a:pt x="1744827" y="-29694"/>
                  <a:pt x="2048790" y="0"/>
                </a:cubicBezTo>
                <a:cubicBezTo>
                  <a:pt x="2352753" y="29694"/>
                  <a:pt x="2569169" y="-33261"/>
                  <a:pt x="2851214" y="0"/>
                </a:cubicBezTo>
                <a:cubicBezTo>
                  <a:pt x="2954412" y="1311"/>
                  <a:pt x="3032312" y="73447"/>
                  <a:pt x="3027682" y="176468"/>
                </a:cubicBezTo>
                <a:cubicBezTo>
                  <a:pt x="3026172" y="278428"/>
                  <a:pt x="3026045" y="429291"/>
                  <a:pt x="3027682" y="515276"/>
                </a:cubicBezTo>
                <a:cubicBezTo>
                  <a:pt x="3029319" y="601261"/>
                  <a:pt x="3021137" y="748991"/>
                  <a:pt x="3027682" y="882318"/>
                </a:cubicBezTo>
                <a:cubicBezTo>
                  <a:pt x="3033013" y="985938"/>
                  <a:pt x="2960338" y="1044276"/>
                  <a:pt x="2851214" y="1058786"/>
                </a:cubicBezTo>
                <a:cubicBezTo>
                  <a:pt x="2657053" y="1058100"/>
                  <a:pt x="2377751" y="1068401"/>
                  <a:pt x="2129033" y="1058786"/>
                </a:cubicBezTo>
                <a:cubicBezTo>
                  <a:pt x="1880315" y="1049171"/>
                  <a:pt x="1683278" y="1055514"/>
                  <a:pt x="1513841" y="1058786"/>
                </a:cubicBezTo>
                <a:cubicBezTo>
                  <a:pt x="1344404" y="1062058"/>
                  <a:pt x="1035121" y="1031249"/>
                  <a:pt x="818407" y="1058786"/>
                </a:cubicBezTo>
                <a:cubicBezTo>
                  <a:pt x="601693" y="1086323"/>
                  <a:pt x="388027" y="1082402"/>
                  <a:pt x="176468" y="1058786"/>
                </a:cubicBezTo>
                <a:cubicBezTo>
                  <a:pt x="65282" y="1052924"/>
                  <a:pt x="14755" y="970684"/>
                  <a:pt x="0" y="882318"/>
                </a:cubicBezTo>
                <a:cubicBezTo>
                  <a:pt x="-12611" y="713268"/>
                  <a:pt x="1843" y="623041"/>
                  <a:pt x="0" y="536452"/>
                </a:cubicBezTo>
                <a:cubicBezTo>
                  <a:pt x="-1843" y="449863"/>
                  <a:pt x="17917" y="253729"/>
                  <a:pt x="0" y="176468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B7DE2D1-DD3D-3655-C235-A10D3117D8F2}"/>
              </a:ext>
            </a:extLst>
          </p:cNvPr>
          <p:cNvSpPr txBox="1"/>
          <p:nvPr/>
        </p:nvSpPr>
        <p:spPr>
          <a:xfrm>
            <a:off x="4128557" y="3648434"/>
            <a:ext cx="105528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Blade settings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01EB94AF-D1E7-8C1B-04E0-CF6C07473B43}"/>
              </a:ext>
            </a:extLst>
          </p:cNvPr>
          <p:cNvSpPr/>
          <p:nvPr/>
        </p:nvSpPr>
        <p:spPr>
          <a:xfrm>
            <a:off x="817878" y="5711827"/>
            <a:ext cx="5112111" cy="140515"/>
          </a:xfrm>
          <a:custGeom>
            <a:avLst/>
            <a:gdLst>
              <a:gd name="connsiteX0" fmla="*/ 0 w 5112111"/>
              <a:gd name="connsiteY0" fmla="*/ 23420 h 140515"/>
              <a:gd name="connsiteX1" fmla="*/ 23420 w 5112111"/>
              <a:gd name="connsiteY1" fmla="*/ 0 h 140515"/>
              <a:gd name="connsiteX2" fmla="*/ 555273 w 5112111"/>
              <a:gd name="connsiteY2" fmla="*/ 0 h 140515"/>
              <a:gd name="connsiteX3" fmla="*/ 1137780 w 5112111"/>
              <a:gd name="connsiteY3" fmla="*/ 0 h 140515"/>
              <a:gd name="connsiteX4" fmla="*/ 1669633 w 5112111"/>
              <a:gd name="connsiteY4" fmla="*/ 0 h 140515"/>
              <a:gd name="connsiteX5" fmla="*/ 2353445 w 5112111"/>
              <a:gd name="connsiteY5" fmla="*/ 0 h 140515"/>
              <a:gd name="connsiteX6" fmla="*/ 3037256 w 5112111"/>
              <a:gd name="connsiteY6" fmla="*/ 0 h 140515"/>
              <a:gd name="connsiteX7" fmla="*/ 3771721 w 5112111"/>
              <a:gd name="connsiteY7" fmla="*/ 0 h 140515"/>
              <a:gd name="connsiteX8" fmla="*/ 4354227 w 5112111"/>
              <a:gd name="connsiteY8" fmla="*/ 0 h 140515"/>
              <a:gd name="connsiteX9" fmla="*/ 5088691 w 5112111"/>
              <a:gd name="connsiteY9" fmla="*/ 0 h 140515"/>
              <a:gd name="connsiteX10" fmla="*/ 5112111 w 5112111"/>
              <a:gd name="connsiteY10" fmla="*/ 23420 h 140515"/>
              <a:gd name="connsiteX11" fmla="*/ 5112111 w 5112111"/>
              <a:gd name="connsiteY11" fmla="*/ 117095 h 140515"/>
              <a:gd name="connsiteX12" fmla="*/ 5088691 w 5112111"/>
              <a:gd name="connsiteY12" fmla="*/ 140515 h 140515"/>
              <a:gd name="connsiteX13" fmla="*/ 4354227 w 5112111"/>
              <a:gd name="connsiteY13" fmla="*/ 140515 h 140515"/>
              <a:gd name="connsiteX14" fmla="*/ 3721068 w 5112111"/>
              <a:gd name="connsiteY14" fmla="*/ 140515 h 140515"/>
              <a:gd name="connsiteX15" fmla="*/ 3189214 w 5112111"/>
              <a:gd name="connsiteY15" fmla="*/ 140515 h 140515"/>
              <a:gd name="connsiteX16" fmla="*/ 2454750 w 5112111"/>
              <a:gd name="connsiteY16" fmla="*/ 140515 h 140515"/>
              <a:gd name="connsiteX17" fmla="*/ 1720286 w 5112111"/>
              <a:gd name="connsiteY17" fmla="*/ 140515 h 140515"/>
              <a:gd name="connsiteX18" fmla="*/ 1087127 w 5112111"/>
              <a:gd name="connsiteY18" fmla="*/ 140515 h 140515"/>
              <a:gd name="connsiteX19" fmla="*/ 23420 w 5112111"/>
              <a:gd name="connsiteY19" fmla="*/ 140515 h 140515"/>
              <a:gd name="connsiteX20" fmla="*/ 0 w 5112111"/>
              <a:gd name="connsiteY20" fmla="*/ 117095 h 140515"/>
              <a:gd name="connsiteX21" fmla="*/ 0 w 5112111"/>
              <a:gd name="connsiteY21" fmla="*/ 23420 h 140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112111" h="140515" extrusionOk="0">
                <a:moveTo>
                  <a:pt x="0" y="23420"/>
                </a:moveTo>
                <a:cubicBezTo>
                  <a:pt x="1700" y="10687"/>
                  <a:pt x="9106" y="-1855"/>
                  <a:pt x="23420" y="0"/>
                </a:cubicBezTo>
                <a:cubicBezTo>
                  <a:pt x="262986" y="-19604"/>
                  <a:pt x="403359" y="14946"/>
                  <a:pt x="555273" y="0"/>
                </a:cubicBezTo>
                <a:cubicBezTo>
                  <a:pt x="707187" y="-14946"/>
                  <a:pt x="977072" y="-11374"/>
                  <a:pt x="1137780" y="0"/>
                </a:cubicBezTo>
                <a:cubicBezTo>
                  <a:pt x="1298488" y="11374"/>
                  <a:pt x="1431292" y="19894"/>
                  <a:pt x="1669633" y="0"/>
                </a:cubicBezTo>
                <a:cubicBezTo>
                  <a:pt x="1907974" y="-19894"/>
                  <a:pt x="2083801" y="-1058"/>
                  <a:pt x="2353445" y="0"/>
                </a:cubicBezTo>
                <a:cubicBezTo>
                  <a:pt x="2623089" y="1058"/>
                  <a:pt x="2749884" y="-34079"/>
                  <a:pt x="3037256" y="0"/>
                </a:cubicBezTo>
                <a:cubicBezTo>
                  <a:pt x="3324628" y="34079"/>
                  <a:pt x="3555737" y="1193"/>
                  <a:pt x="3771721" y="0"/>
                </a:cubicBezTo>
                <a:cubicBezTo>
                  <a:pt x="3987705" y="-1193"/>
                  <a:pt x="4179710" y="-3985"/>
                  <a:pt x="4354227" y="0"/>
                </a:cubicBezTo>
                <a:cubicBezTo>
                  <a:pt x="4528744" y="3985"/>
                  <a:pt x="4896985" y="10510"/>
                  <a:pt x="5088691" y="0"/>
                </a:cubicBezTo>
                <a:cubicBezTo>
                  <a:pt x="5103452" y="2109"/>
                  <a:pt x="5113065" y="9298"/>
                  <a:pt x="5112111" y="23420"/>
                </a:cubicBezTo>
                <a:cubicBezTo>
                  <a:pt x="5110736" y="42683"/>
                  <a:pt x="5113359" y="79539"/>
                  <a:pt x="5112111" y="117095"/>
                </a:cubicBezTo>
                <a:cubicBezTo>
                  <a:pt x="5112582" y="132331"/>
                  <a:pt x="5103057" y="142198"/>
                  <a:pt x="5088691" y="140515"/>
                </a:cubicBezTo>
                <a:cubicBezTo>
                  <a:pt x="4860108" y="129160"/>
                  <a:pt x="4527478" y="159165"/>
                  <a:pt x="4354227" y="140515"/>
                </a:cubicBezTo>
                <a:cubicBezTo>
                  <a:pt x="4180976" y="121865"/>
                  <a:pt x="3945143" y="146470"/>
                  <a:pt x="3721068" y="140515"/>
                </a:cubicBezTo>
                <a:cubicBezTo>
                  <a:pt x="3496993" y="134560"/>
                  <a:pt x="3422162" y="139662"/>
                  <a:pt x="3189214" y="140515"/>
                </a:cubicBezTo>
                <a:cubicBezTo>
                  <a:pt x="2956266" y="141368"/>
                  <a:pt x="2773421" y="111188"/>
                  <a:pt x="2454750" y="140515"/>
                </a:cubicBezTo>
                <a:cubicBezTo>
                  <a:pt x="2136079" y="169842"/>
                  <a:pt x="1896444" y="155818"/>
                  <a:pt x="1720286" y="140515"/>
                </a:cubicBezTo>
                <a:cubicBezTo>
                  <a:pt x="1544128" y="125212"/>
                  <a:pt x="1239119" y="140306"/>
                  <a:pt x="1087127" y="140515"/>
                </a:cubicBezTo>
                <a:cubicBezTo>
                  <a:pt x="935135" y="140724"/>
                  <a:pt x="456454" y="133046"/>
                  <a:pt x="23420" y="140515"/>
                </a:cubicBezTo>
                <a:cubicBezTo>
                  <a:pt x="10722" y="141039"/>
                  <a:pt x="-1558" y="128187"/>
                  <a:pt x="0" y="117095"/>
                </a:cubicBezTo>
                <a:cubicBezTo>
                  <a:pt x="3132" y="79002"/>
                  <a:pt x="-3246" y="65885"/>
                  <a:pt x="0" y="23420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BCD99584-665C-6306-9BE2-85EC54706C1E}"/>
              </a:ext>
            </a:extLst>
          </p:cNvPr>
          <p:cNvSpPr/>
          <p:nvPr/>
        </p:nvSpPr>
        <p:spPr>
          <a:xfrm>
            <a:off x="817878" y="5265440"/>
            <a:ext cx="3625639" cy="374789"/>
          </a:xfrm>
          <a:custGeom>
            <a:avLst/>
            <a:gdLst>
              <a:gd name="connsiteX0" fmla="*/ 0 w 3625639"/>
              <a:gd name="connsiteY0" fmla="*/ 62466 h 374789"/>
              <a:gd name="connsiteX1" fmla="*/ 62466 w 3625639"/>
              <a:gd name="connsiteY1" fmla="*/ 0 h 374789"/>
              <a:gd name="connsiteX2" fmla="*/ 575903 w 3625639"/>
              <a:gd name="connsiteY2" fmla="*/ 0 h 374789"/>
              <a:gd name="connsiteX3" fmla="*/ 1124347 w 3625639"/>
              <a:gd name="connsiteY3" fmla="*/ 0 h 374789"/>
              <a:gd name="connsiteX4" fmla="*/ 1637784 w 3625639"/>
              <a:gd name="connsiteY4" fmla="*/ 0 h 374789"/>
              <a:gd name="connsiteX5" fmla="*/ 2256242 w 3625639"/>
              <a:gd name="connsiteY5" fmla="*/ 0 h 374789"/>
              <a:gd name="connsiteX6" fmla="*/ 2874701 w 3625639"/>
              <a:gd name="connsiteY6" fmla="*/ 0 h 374789"/>
              <a:gd name="connsiteX7" fmla="*/ 3563173 w 3625639"/>
              <a:gd name="connsiteY7" fmla="*/ 0 h 374789"/>
              <a:gd name="connsiteX8" fmla="*/ 3625639 w 3625639"/>
              <a:gd name="connsiteY8" fmla="*/ 62466 h 374789"/>
              <a:gd name="connsiteX9" fmla="*/ 3625639 w 3625639"/>
              <a:gd name="connsiteY9" fmla="*/ 312323 h 374789"/>
              <a:gd name="connsiteX10" fmla="*/ 3563173 w 3625639"/>
              <a:gd name="connsiteY10" fmla="*/ 374789 h 374789"/>
              <a:gd name="connsiteX11" fmla="*/ 2944715 w 3625639"/>
              <a:gd name="connsiteY11" fmla="*/ 374789 h 374789"/>
              <a:gd name="connsiteX12" fmla="*/ 2326257 w 3625639"/>
              <a:gd name="connsiteY12" fmla="*/ 374789 h 374789"/>
              <a:gd name="connsiteX13" fmla="*/ 1742805 w 3625639"/>
              <a:gd name="connsiteY13" fmla="*/ 374789 h 374789"/>
              <a:gd name="connsiteX14" fmla="*/ 1159354 w 3625639"/>
              <a:gd name="connsiteY14" fmla="*/ 374789 h 374789"/>
              <a:gd name="connsiteX15" fmla="*/ 645917 w 3625639"/>
              <a:gd name="connsiteY15" fmla="*/ 374789 h 374789"/>
              <a:gd name="connsiteX16" fmla="*/ 62466 w 3625639"/>
              <a:gd name="connsiteY16" fmla="*/ 374789 h 374789"/>
              <a:gd name="connsiteX17" fmla="*/ 0 w 3625639"/>
              <a:gd name="connsiteY17" fmla="*/ 312323 h 374789"/>
              <a:gd name="connsiteX18" fmla="*/ 0 w 3625639"/>
              <a:gd name="connsiteY18" fmla="*/ 62466 h 374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625639" h="374789" extrusionOk="0">
                <a:moveTo>
                  <a:pt x="0" y="62466"/>
                </a:moveTo>
                <a:cubicBezTo>
                  <a:pt x="6656" y="28757"/>
                  <a:pt x="23667" y="-5786"/>
                  <a:pt x="62466" y="0"/>
                </a:cubicBezTo>
                <a:cubicBezTo>
                  <a:pt x="265500" y="8747"/>
                  <a:pt x="432231" y="5038"/>
                  <a:pt x="575903" y="0"/>
                </a:cubicBezTo>
                <a:cubicBezTo>
                  <a:pt x="719575" y="-5038"/>
                  <a:pt x="996486" y="20399"/>
                  <a:pt x="1124347" y="0"/>
                </a:cubicBezTo>
                <a:cubicBezTo>
                  <a:pt x="1252208" y="-20399"/>
                  <a:pt x="1389214" y="-14097"/>
                  <a:pt x="1637784" y="0"/>
                </a:cubicBezTo>
                <a:cubicBezTo>
                  <a:pt x="1886354" y="14097"/>
                  <a:pt x="2132378" y="8823"/>
                  <a:pt x="2256242" y="0"/>
                </a:cubicBezTo>
                <a:cubicBezTo>
                  <a:pt x="2380106" y="-8823"/>
                  <a:pt x="2650428" y="-18553"/>
                  <a:pt x="2874701" y="0"/>
                </a:cubicBezTo>
                <a:cubicBezTo>
                  <a:pt x="3098974" y="18553"/>
                  <a:pt x="3376950" y="24922"/>
                  <a:pt x="3563173" y="0"/>
                </a:cubicBezTo>
                <a:cubicBezTo>
                  <a:pt x="3603697" y="5650"/>
                  <a:pt x="3620568" y="22798"/>
                  <a:pt x="3625639" y="62466"/>
                </a:cubicBezTo>
                <a:cubicBezTo>
                  <a:pt x="3613559" y="122814"/>
                  <a:pt x="3632902" y="190704"/>
                  <a:pt x="3625639" y="312323"/>
                </a:cubicBezTo>
                <a:cubicBezTo>
                  <a:pt x="3625011" y="339283"/>
                  <a:pt x="3597672" y="372141"/>
                  <a:pt x="3563173" y="374789"/>
                </a:cubicBezTo>
                <a:cubicBezTo>
                  <a:pt x="3383356" y="355191"/>
                  <a:pt x="3233898" y="396255"/>
                  <a:pt x="2944715" y="374789"/>
                </a:cubicBezTo>
                <a:cubicBezTo>
                  <a:pt x="2655532" y="353323"/>
                  <a:pt x="2628589" y="364301"/>
                  <a:pt x="2326257" y="374789"/>
                </a:cubicBezTo>
                <a:cubicBezTo>
                  <a:pt x="2023925" y="385277"/>
                  <a:pt x="1914542" y="374838"/>
                  <a:pt x="1742805" y="374789"/>
                </a:cubicBezTo>
                <a:cubicBezTo>
                  <a:pt x="1571068" y="374740"/>
                  <a:pt x="1416655" y="403512"/>
                  <a:pt x="1159354" y="374789"/>
                </a:cubicBezTo>
                <a:cubicBezTo>
                  <a:pt x="902053" y="346066"/>
                  <a:pt x="898996" y="387909"/>
                  <a:pt x="645917" y="374789"/>
                </a:cubicBezTo>
                <a:cubicBezTo>
                  <a:pt x="392838" y="361669"/>
                  <a:pt x="306627" y="361407"/>
                  <a:pt x="62466" y="374789"/>
                </a:cubicBezTo>
                <a:cubicBezTo>
                  <a:pt x="32461" y="373835"/>
                  <a:pt x="6715" y="351597"/>
                  <a:pt x="0" y="312323"/>
                </a:cubicBezTo>
                <a:cubicBezTo>
                  <a:pt x="-6816" y="223798"/>
                  <a:pt x="10741" y="164436"/>
                  <a:pt x="0" y="62466"/>
                </a:cubicBezTo>
                <a:close/>
              </a:path>
            </a:pathLst>
          </a:custGeom>
          <a:noFill/>
          <a:ln w="9525" cap="flat" cmpd="sng" algn="ctr">
            <a:solidFill>
              <a:srgbClr val="D01012"/>
            </a:solidFill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2214188587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D6337B5-CF44-50F3-2B12-7CE99513BFD4}"/>
              </a:ext>
            </a:extLst>
          </p:cNvPr>
          <p:cNvSpPr txBox="1"/>
          <p:nvPr/>
        </p:nvSpPr>
        <p:spPr>
          <a:xfrm>
            <a:off x="4370287" y="5224173"/>
            <a:ext cx="18050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UI element value from transformed blade output</a:t>
            </a:r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884AE367-10C5-B7C7-6A5A-76D4B9F42E65}"/>
              </a:ext>
            </a:extLst>
          </p:cNvPr>
          <p:cNvSpPr txBox="1">
            <a:spLocks/>
          </p:cNvSpPr>
          <p:nvPr/>
        </p:nvSpPr>
        <p:spPr>
          <a:xfrm>
            <a:off x="642803" y="1347906"/>
            <a:ext cx="9725984" cy="6945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Inspecting the schema, we can find “</a:t>
            </a:r>
            <a:r>
              <a:rPr lang="en-US" sz="2000" dirty="0" err="1"/>
              <a:t>Microsoft.Solutions.GraphApiControl</a:t>
            </a:r>
            <a:r>
              <a:rPr lang="en-US" sz="2000" dirty="0"/>
              <a:t>”, or </a:t>
            </a:r>
            <a:r>
              <a:rPr lang="en-US" sz="2000" b="1" dirty="0">
                <a:solidFill>
                  <a:srgbClr val="FF0000"/>
                </a:solidFill>
              </a:rPr>
              <a:t>even cooler “</a:t>
            </a:r>
            <a:r>
              <a:rPr lang="en-US" sz="2000" b="1" dirty="0" err="1">
                <a:solidFill>
                  <a:srgbClr val="FF0000"/>
                </a:solidFill>
              </a:rPr>
              <a:t>Microsoft.Solutions.BladeInvokeControl</a:t>
            </a:r>
            <a:r>
              <a:rPr lang="en-US" sz="2000" b="1" dirty="0">
                <a:solidFill>
                  <a:srgbClr val="FF0000"/>
                </a:solidFill>
              </a:rPr>
              <a:t>”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E7BAFF43-FFCB-6767-040F-1DCD38DB22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03336" y="5320084"/>
            <a:ext cx="2716814" cy="572886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45061045-B61B-CC07-A442-D70FD3288A64}"/>
              </a:ext>
            </a:extLst>
          </p:cNvPr>
          <p:cNvSpPr txBox="1"/>
          <p:nvPr/>
        </p:nvSpPr>
        <p:spPr>
          <a:xfrm>
            <a:off x="5865917" y="5649662"/>
            <a:ext cx="12287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UI element color</a:t>
            </a:r>
          </a:p>
        </p:txBody>
      </p:sp>
    </p:spTree>
    <p:extLst>
      <p:ext uri="{BB962C8B-B14F-4D97-AF65-F5344CB8AC3E}">
        <p14:creationId xmlns:p14="http://schemas.microsoft.com/office/powerpoint/2010/main" val="15416076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Template Specs UI Blad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141287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dirty="0"/>
              <a:t>Blades are also described in the </a:t>
            </a:r>
            <a:r>
              <a:rPr lang="en-US" sz="1400" dirty="0">
                <a:hlinkClick r:id="rId2"/>
              </a:rPr>
              <a:t>GitHub azure/</a:t>
            </a:r>
            <a:r>
              <a:rPr lang="en-US" sz="1400" dirty="0" err="1">
                <a:hlinkClick r:id="rId2"/>
              </a:rPr>
              <a:t>portaldocs</a:t>
            </a:r>
            <a:r>
              <a:rPr lang="en-US" sz="1400" dirty="0">
                <a:hlinkClick r:id="rId2"/>
              </a:rPr>
              <a:t> repo</a:t>
            </a:r>
            <a:endParaRPr lang="en-US" sz="1400" dirty="0">
              <a:hlinkClick r:id="rId3"/>
            </a:endParaRPr>
          </a:p>
          <a:p>
            <a:pPr marL="0" indent="0">
              <a:buNone/>
            </a:pPr>
            <a:r>
              <a:rPr lang="en-US" sz="1400" dirty="0">
                <a:hlinkClick r:id="rId3"/>
              </a:rPr>
              <a:t>How to use Azure Portal blades in the Template Specs UI (gatevnotes.com)</a:t>
            </a:r>
            <a:endParaRPr lang="en-US" sz="1400" dirty="0">
              <a:hlinkClick r:id="rId4"/>
            </a:endParaRPr>
          </a:p>
          <a:p>
            <a:pPr marL="0" indent="0">
              <a:buNone/>
            </a:pPr>
            <a:r>
              <a:rPr lang="en-US" sz="1400" dirty="0">
                <a:hlinkClick r:id="rId4"/>
              </a:rPr>
              <a:t>How to uncover the names and parameters of blades in Azure Portal (gatevnotes.com)</a:t>
            </a:r>
            <a:endParaRPr lang="en-US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16890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FB93D0A-2870-FA1A-36A1-643F603E0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2</a:t>
            </a:fld>
            <a:endParaRPr lang="en-US"/>
          </a:p>
        </p:txBody>
      </p:sp>
      <p:pic>
        <p:nvPicPr>
          <p:cNvPr id="4" name="Picture 3" descr="A poster with a group of people&#10;&#10;Description automatically generated">
            <a:extLst>
              <a:ext uri="{FF2B5EF4-FFF2-40B4-BE49-F238E27FC236}">
                <a16:creationId xmlns:a16="http://schemas.microsoft.com/office/drawing/2014/main" id="{A0089F55-0235-BDE5-F816-60A24FB322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8003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Template Specs deployment op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Now that we know what Azure Template Specs are, lets check how can they be used.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0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14384" y="2841878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7925" y="2526460"/>
            <a:ext cx="1963754" cy="196375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9C09223-D36A-E074-1AA6-0CB54D96C302}"/>
              </a:ext>
            </a:extLst>
          </p:cNvPr>
          <p:cNvSpPr txBox="1"/>
          <p:nvPr/>
        </p:nvSpPr>
        <p:spPr>
          <a:xfrm>
            <a:off x="861162" y="4896951"/>
            <a:ext cx="1236877" cy="369332"/>
          </a:xfrm>
          <a:custGeom>
            <a:avLst/>
            <a:gdLst>
              <a:gd name="connsiteX0" fmla="*/ 0 w 1236877"/>
              <a:gd name="connsiteY0" fmla="*/ 0 h 369332"/>
              <a:gd name="connsiteX1" fmla="*/ 399924 w 1236877"/>
              <a:gd name="connsiteY1" fmla="*/ 0 h 369332"/>
              <a:gd name="connsiteX2" fmla="*/ 775110 w 1236877"/>
              <a:gd name="connsiteY2" fmla="*/ 0 h 369332"/>
              <a:gd name="connsiteX3" fmla="*/ 1236877 w 1236877"/>
              <a:gd name="connsiteY3" fmla="*/ 0 h 369332"/>
              <a:gd name="connsiteX4" fmla="*/ 1236877 w 1236877"/>
              <a:gd name="connsiteY4" fmla="*/ 369332 h 369332"/>
              <a:gd name="connsiteX5" fmla="*/ 849322 w 1236877"/>
              <a:gd name="connsiteY5" fmla="*/ 369332 h 369332"/>
              <a:gd name="connsiteX6" fmla="*/ 412292 w 1236877"/>
              <a:gd name="connsiteY6" fmla="*/ 369332 h 369332"/>
              <a:gd name="connsiteX7" fmla="*/ 0 w 1236877"/>
              <a:gd name="connsiteY7" fmla="*/ 369332 h 369332"/>
              <a:gd name="connsiteX8" fmla="*/ 0 w 1236877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6877" h="369332" extrusionOk="0">
                <a:moveTo>
                  <a:pt x="0" y="0"/>
                </a:moveTo>
                <a:cubicBezTo>
                  <a:pt x="175328" y="-17771"/>
                  <a:pt x="280012" y="20305"/>
                  <a:pt x="399924" y="0"/>
                </a:cubicBezTo>
                <a:cubicBezTo>
                  <a:pt x="519836" y="-20305"/>
                  <a:pt x="673338" y="9360"/>
                  <a:pt x="775110" y="0"/>
                </a:cubicBezTo>
                <a:cubicBezTo>
                  <a:pt x="876882" y="-9360"/>
                  <a:pt x="1091270" y="30966"/>
                  <a:pt x="1236877" y="0"/>
                </a:cubicBezTo>
                <a:cubicBezTo>
                  <a:pt x="1272465" y="113493"/>
                  <a:pt x="1210070" y="197069"/>
                  <a:pt x="1236877" y="369332"/>
                </a:cubicBezTo>
                <a:cubicBezTo>
                  <a:pt x="1057692" y="380605"/>
                  <a:pt x="987291" y="349777"/>
                  <a:pt x="849322" y="369332"/>
                </a:cubicBezTo>
                <a:cubicBezTo>
                  <a:pt x="711353" y="388887"/>
                  <a:pt x="537900" y="327536"/>
                  <a:pt x="412292" y="369332"/>
                </a:cubicBezTo>
                <a:cubicBezTo>
                  <a:pt x="286684" y="411128"/>
                  <a:pt x="158184" y="356080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Develop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CEC175-E2F9-A40F-65CB-92B68AEF21E7}"/>
              </a:ext>
            </a:extLst>
          </p:cNvPr>
          <p:cNvSpPr txBox="1"/>
          <p:nvPr/>
        </p:nvSpPr>
        <p:spPr>
          <a:xfrm>
            <a:off x="1508830" y="5420858"/>
            <a:ext cx="1548565" cy="369332"/>
          </a:xfrm>
          <a:custGeom>
            <a:avLst/>
            <a:gdLst>
              <a:gd name="connsiteX0" fmla="*/ 0 w 1548565"/>
              <a:gd name="connsiteY0" fmla="*/ 0 h 369332"/>
              <a:gd name="connsiteX1" fmla="*/ 500703 w 1548565"/>
              <a:gd name="connsiteY1" fmla="*/ 0 h 369332"/>
              <a:gd name="connsiteX2" fmla="*/ 970434 w 1548565"/>
              <a:gd name="connsiteY2" fmla="*/ 0 h 369332"/>
              <a:gd name="connsiteX3" fmla="*/ 1548565 w 1548565"/>
              <a:gd name="connsiteY3" fmla="*/ 0 h 369332"/>
              <a:gd name="connsiteX4" fmla="*/ 1548565 w 1548565"/>
              <a:gd name="connsiteY4" fmla="*/ 369332 h 369332"/>
              <a:gd name="connsiteX5" fmla="*/ 1063348 w 1548565"/>
              <a:gd name="connsiteY5" fmla="*/ 369332 h 369332"/>
              <a:gd name="connsiteX6" fmla="*/ 516188 w 1548565"/>
              <a:gd name="connsiteY6" fmla="*/ 369332 h 369332"/>
              <a:gd name="connsiteX7" fmla="*/ 0 w 1548565"/>
              <a:gd name="connsiteY7" fmla="*/ 369332 h 369332"/>
              <a:gd name="connsiteX8" fmla="*/ 0 w 1548565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8565" h="369332" extrusionOk="0">
                <a:moveTo>
                  <a:pt x="0" y="0"/>
                </a:moveTo>
                <a:cubicBezTo>
                  <a:pt x="188744" y="-47250"/>
                  <a:pt x="363565" y="29188"/>
                  <a:pt x="500703" y="0"/>
                </a:cubicBezTo>
                <a:cubicBezTo>
                  <a:pt x="637841" y="-29188"/>
                  <a:pt x="876338" y="27244"/>
                  <a:pt x="970434" y="0"/>
                </a:cubicBezTo>
                <a:cubicBezTo>
                  <a:pt x="1064530" y="-27244"/>
                  <a:pt x="1364252" y="59563"/>
                  <a:pt x="1548565" y="0"/>
                </a:cubicBezTo>
                <a:cubicBezTo>
                  <a:pt x="1584153" y="113493"/>
                  <a:pt x="1521758" y="197069"/>
                  <a:pt x="1548565" y="369332"/>
                </a:cubicBezTo>
                <a:cubicBezTo>
                  <a:pt x="1380486" y="378330"/>
                  <a:pt x="1230603" y="356389"/>
                  <a:pt x="1063348" y="369332"/>
                </a:cubicBezTo>
                <a:cubicBezTo>
                  <a:pt x="896093" y="382275"/>
                  <a:pt x="690595" y="357083"/>
                  <a:pt x="516188" y="369332"/>
                </a:cubicBezTo>
                <a:cubicBezTo>
                  <a:pt x="341781" y="381581"/>
                  <a:pt x="145639" y="3359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Platform Tea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635322" y="4373044"/>
            <a:ext cx="2422073" cy="369332"/>
          </a:xfrm>
          <a:custGeom>
            <a:avLst/>
            <a:gdLst>
              <a:gd name="connsiteX0" fmla="*/ 0 w 2422073"/>
              <a:gd name="connsiteY0" fmla="*/ 0 h 369332"/>
              <a:gd name="connsiteX1" fmla="*/ 460194 w 2422073"/>
              <a:gd name="connsiteY1" fmla="*/ 0 h 369332"/>
              <a:gd name="connsiteX2" fmla="*/ 871946 w 2422073"/>
              <a:gd name="connsiteY2" fmla="*/ 0 h 369332"/>
              <a:gd name="connsiteX3" fmla="*/ 1404802 w 2422073"/>
              <a:gd name="connsiteY3" fmla="*/ 0 h 369332"/>
              <a:gd name="connsiteX4" fmla="*/ 1864996 w 2422073"/>
              <a:gd name="connsiteY4" fmla="*/ 0 h 369332"/>
              <a:gd name="connsiteX5" fmla="*/ 2422073 w 2422073"/>
              <a:gd name="connsiteY5" fmla="*/ 0 h 369332"/>
              <a:gd name="connsiteX6" fmla="*/ 2422073 w 2422073"/>
              <a:gd name="connsiteY6" fmla="*/ 369332 h 369332"/>
              <a:gd name="connsiteX7" fmla="*/ 1937658 w 2422073"/>
              <a:gd name="connsiteY7" fmla="*/ 369332 h 369332"/>
              <a:gd name="connsiteX8" fmla="*/ 1404802 w 2422073"/>
              <a:gd name="connsiteY8" fmla="*/ 369332 h 369332"/>
              <a:gd name="connsiteX9" fmla="*/ 993050 w 2422073"/>
              <a:gd name="connsiteY9" fmla="*/ 369332 h 369332"/>
              <a:gd name="connsiteX10" fmla="*/ 508635 w 2422073"/>
              <a:gd name="connsiteY10" fmla="*/ 369332 h 369332"/>
              <a:gd name="connsiteX11" fmla="*/ 0 w 2422073"/>
              <a:gd name="connsiteY11" fmla="*/ 369332 h 369332"/>
              <a:gd name="connsiteX12" fmla="*/ 0 w 2422073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22073" h="369332" extrusionOk="0">
                <a:moveTo>
                  <a:pt x="0" y="0"/>
                </a:moveTo>
                <a:cubicBezTo>
                  <a:pt x="199693" y="-10251"/>
                  <a:pt x="246167" y="30869"/>
                  <a:pt x="460194" y="0"/>
                </a:cubicBezTo>
                <a:cubicBezTo>
                  <a:pt x="674221" y="-30869"/>
                  <a:pt x="708354" y="1783"/>
                  <a:pt x="871946" y="0"/>
                </a:cubicBezTo>
                <a:cubicBezTo>
                  <a:pt x="1035538" y="-1783"/>
                  <a:pt x="1215339" y="49588"/>
                  <a:pt x="1404802" y="0"/>
                </a:cubicBezTo>
                <a:cubicBezTo>
                  <a:pt x="1594265" y="-49588"/>
                  <a:pt x="1640279" y="31720"/>
                  <a:pt x="1864996" y="0"/>
                </a:cubicBezTo>
                <a:cubicBezTo>
                  <a:pt x="2089713" y="-31720"/>
                  <a:pt x="2225679" y="45722"/>
                  <a:pt x="2422073" y="0"/>
                </a:cubicBezTo>
                <a:cubicBezTo>
                  <a:pt x="2458233" y="81226"/>
                  <a:pt x="2400535" y="278722"/>
                  <a:pt x="2422073" y="369332"/>
                </a:cubicBezTo>
                <a:cubicBezTo>
                  <a:pt x="2243299" y="402811"/>
                  <a:pt x="2104963" y="338227"/>
                  <a:pt x="1937658" y="369332"/>
                </a:cubicBezTo>
                <a:cubicBezTo>
                  <a:pt x="1770354" y="400437"/>
                  <a:pt x="1620687" y="307360"/>
                  <a:pt x="1404802" y="369332"/>
                </a:cubicBezTo>
                <a:cubicBezTo>
                  <a:pt x="1188917" y="431304"/>
                  <a:pt x="1131819" y="335684"/>
                  <a:pt x="993050" y="369332"/>
                </a:cubicBezTo>
                <a:cubicBezTo>
                  <a:pt x="854281" y="402980"/>
                  <a:pt x="704761" y="348963"/>
                  <a:pt x="508635" y="369332"/>
                </a:cubicBezTo>
                <a:cubicBezTo>
                  <a:pt x="312510" y="389701"/>
                  <a:pt x="246365" y="328998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Operations/Onboarding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29254" y="4337825"/>
            <a:ext cx="1270677" cy="386034"/>
          </a:xfrm>
          <a:custGeom>
            <a:avLst/>
            <a:gdLst>
              <a:gd name="connsiteX0" fmla="*/ 0 w 1270677"/>
              <a:gd name="connsiteY0" fmla="*/ 64340 h 386034"/>
              <a:gd name="connsiteX1" fmla="*/ 64340 w 1270677"/>
              <a:gd name="connsiteY1" fmla="*/ 0 h 386034"/>
              <a:gd name="connsiteX2" fmla="*/ 658178 w 1270677"/>
              <a:gd name="connsiteY2" fmla="*/ 0 h 386034"/>
              <a:gd name="connsiteX3" fmla="*/ 1206337 w 1270677"/>
              <a:gd name="connsiteY3" fmla="*/ 0 h 386034"/>
              <a:gd name="connsiteX4" fmla="*/ 1270677 w 1270677"/>
              <a:gd name="connsiteY4" fmla="*/ 64340 h 386034"/>
              <a:gd name="connsiteX5" fmla="*/ 1270677 w 1270677"/>
              <a:gd name="connsiteY5" fmla="*/ 321694 h 386034"/>
              <a:gd name="connsiteX6" fmla="*/ 1206337 w 1270677"/>
              <a:gd name="connsiteY6" fmla="*/ 386034 h 386034"/>
              <a:gd name="connsiteX7" fmla="*/ 635339 w 1270677"/>
              <a:gd name="connsiteY7" fmla="*/ 386034 h 386034"/>
              <a:gd name="connsiteX8" fmla="*/ 64340 w 1270677"/>
              <a:gd name="connsiteY8" fmla="*/ 386034 h 386034"/>
              <a:gd name="connsiteX9" fmla="*/ 0 w 1270677"/>
              <a:gd name="connsiteY9" fmla="*/ 321694 h 386034"/>
              <a:gd name="connsiteX10" fmla="*/ 0 w 1270677"/>
              <a:gd name="connsiteY10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0677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305104" y="-12353"/>
                  <a:pt x="404359" y="-13726"/>
                  <a:pt x="658178" y="0"/>
                </a:cubicBezTo>
                <a:cubicBezTo>
                  <a:pt x="911997" y="13726"/>
                  <a:pt x="1013716" y="-11684"/>
                  <a:pt x="1206337" y="0"/>
                </a:cubicBezTo>
                <a:cubicBezTo>
                  <a:pt x="1234352" y="-4114"/>
                  <a:pt x="1274606" y="30683"/>
                  <a:pt x="1270677" y="64340"/>
                </a:cubicBezTo>
                <a:cubicBezTo>
                  <a:pt x="1276931" y="162416"/>
                  <a:pt x="1279897" y="205598"/>
                  <a:pt x="1270677" y="321694"/>
                </a:cubicBezTo>
                <a:cubicBezTo>
                  <a:pt x="1272476" y="354301"/>
                  <a:pt x="1236545" y="390714"/>
                  <a:pt x="1206337" y="386034"/>
                </a:cubicBezTo>
                <a:cubicBezTo>
                  <a:pt x="1018204" y="391331"/>
                  <a:pt x="872347" y="408582"/>
                  <a:pt x="635339" y="386034"/>
                </a:cubicBezTo>
                <a:cubicBezTo>
                  <a:pt x="398331" y="363486"/>
                  <a:pt x="230275" y="367458"/>
                  <a:pt x="64340" y="386034"/>
                </a:cubicBezTo>
                <a:cubicBezTo>
                  <a:pt x="21150" y="385596"/>
                  <a:pt x="2276" y="350987"/>
                  <a:pt x="0" y="321694"/>
                </a:cubicBezTo>
                <a:cubicBezTo>
                  <a:pt x="3363" y="261429"/>
                  <a:pt x="10077" y="168251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8098358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2FC9430-89FA-B6F5-FF73-09BF4CD95552}"/>
              </a:ext>
            </a:extLst>
          </p:cNvPr>
          <p:cNvSpPr txBox="1">
            <a:spLocks/>
          </p:cNvSpPr>
          <p:nvPr/>
        </p:nvSpPr>
        <p:spPr>
          <a:xfrm>
            <a:off x="4398363" y="4349404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Key Principles</a:t>
            </a:r>
          </a:p>
          <a:p>
            <a:pPr>
              <a:buFontTx/>
              <a:buChar char="-"/>
            </a:pPr>
            <a:r>
              <a:rPr lang="en-US" sz="1600" dirty="0"/>
              <a:t>Source Control</a:t>
            </a:r>
          </a:p>
          <a:p>
            <a:pPr>
              <a:buFontTx/>
              <a:buChar char="-"/>
            </a:pPr>
            <a:r>
              <a:rPr lang="en-US" sz="1600" dirty="0"/>
              <a:t>Modularization and versioning</a:t>
            </a:r>
          </a:p>
          <a:p>
            <a:pPr>
              <a:buFontTx/>
              <a:buChar char="-"/>
            </a:pPr>
            <a:r>
              <a:rPr lang="en-US" sz="1600" dirty="0"/>
              <a:t>Idempotency</a:t>
            </a:r>
          </a:p>
          <a:p>
            <a:pPr>
              <a:buFontTx/>
              <a:buChar char="-"/>
            </a:pPr>
            <a:r>
              <a:rPr lang="en-US" sz="1600" dirty="0"/>
              <a:t>Immutability</a:t>
            </a:r>
          </a:p>
          <a:p>
            <a:pPr>
              <a:buFontTx/>
              <a:buChar char="-"/>
            </a:pPr>
            <a:r>
              <a:rPr lang="en-US" sz="1600" dirty="0"/>
              <a:t>CICD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8952275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9806192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FFC8AE4-5582-19C0-DED3-63D8270B8571}"/>
              </a:ext>
            </a:extLst>
          </p:cNvPr>
          <p:cNvGrpSpPr/>
          <p:nvPr/>
        </p:nvGrpSpPr>
        <p:grpSpPr>
          <a:xfrm>
            <a:off x="5075020" y="2636981"/>
            <a:ext cx="1491970" cy="1694291"/>
            <a:chOff x="3591201" y="2800773"/>
            <a:chExt cx="887513" cy="946980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804CD20B-D34E-E250-FE43-7F9A981600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>
              <a:extLst>
                <a:ext uri="{FF2B5EF4-FFF2-40B4-BE49-F238E27FC236}">
                  <a16:creationId xmlns:a16="http://schemas.microsoft.com/office/drawing/2014/main" id="{589B69B8-B088-4632-7BDA-773B26D65C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5E82655F-7EC7-C105-EAA2-389E5E131E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24EF291-C501-D101-0029-071EE9043CF4}"/>
              </a:ext>
            </a:extLst>
          </p:cNvPr>
          <p:cNvSpPr/>
          <p:nvPr/>
        </p:nvSpPr>
        <p:spPr>
          <a:xfrm>
            <a:off x="4187983" y="2655113"/>
            <a:ext cx="3083058" cy="3540825"/>
          </a:xfrm>
          <a:custGeom>
            <a:avLst/>
            <a:gdLst>
              <a:gd name="connsiteX0" fmla="*/ 0 w 3083058"/>
              <a:gd name="connsiteY0" fmla="*/ 513853 h 3540825"/>
              <a:gd name="connsiteX1" fmla="*/ 513853 w 3083058"/>
              <a:gd name="connsiteY1" fmla="*/ 0 h 3540825"/>
              <a:gd name="connsiteX2" fmla="*/ 1068798 w 3083058"/>
              <a:gd name="connsiteY2" fmla="*/ 0 h 3540825"/>
              <a:gd name="connsiteX3" fmla="*/ 1562083 w 3083058"/>
              <a:gd name="connsiteY3" fmla="*/ 0 h 3540825"/>
              <a:gd name="connsiteX4" fmla="*/ 2034813 w 3083058"/>
              <a:gd name="connsiteY4" fmla="*/ 0 h 3540825"/>
              <a:gd name="connsiteX5" fmla="*/ 2569205 w 3083058"/>
              <a:gd name="connsiteY5" fmla="*/ 0 h 3540825"/>
              <a:gd name="connsiteX6" fmla="*/ 3083058 w 3083058"/>
              <a:gd name="connsiteY6" fmla="*/ 513853 h 3540825"/>
              <a:gd name="connsiteX7" fmla="*/ 3083058 w 3083058"/>
              <a:gd name="connsiteY7" fmla="*/ 1016477 h 3540825"/>
              <a:gd name="connsiteX8" fmla="*/ 3083058 w 3083058"/>
              <a:gd name="connsiteY8" fmla="*/ 1569363 h 3540825"/>
              <a:gd name="connsiteX9" fmla="*/ 3083058 w 3083058"/>
              <a:gd name="connsiteY9" fmla="*/ 1996593 h 3540825"/>
              <a:gd name="connsiteX10" fmla="*/ 3083058 w 3083058"/>
              <a:gd name="connsiteY10" fmla="*/ 2499217 h 3540825"/>
              <a:gd name="connsiteX11" fmla="*/ 3083058 w 3083058"/>
              <a:gd name="connsiteY11" fmla="*/ 3026972 h 3540825"/>
              <a:gd name="connsiteX12" fmla="*/ 2569205 w 3083058"/>
              <a:gd name="connsiteY12" fmla="*/ 3540825 h 3540825"/>
              <a:gd name="connsiteX13" fmla="*/ 2055367 w 3083058"/>
              <a:gd name="connsiteY13" fmla="*/ 3540825 h 3540825"/>
              <a:gd name="connsiteX14" fmla="*/ 1582636 w 3083058"/>
              <a:gd name="connsiteY14" fmla="*/ 3540825 h 3540825"/>
              <a:gd name="connsiteX15" fmla="*/ 1068798 w 3083058"/>
              <a:gd name="connsiteY15" fmla="*/ 3540825 h 3540825"/>
              <a:gd name="connsiteX16" fmla="*/ 513853 w 3083058"/>
              <a:gd name="connsiteY16" fmla="*/ 3540825 h 3540825"/>
              <a:gd name="connsiteX17" fmla="*/ 0 w 3083058"/>
              <a:gd name="connsiteY17" fmla="*/ 3026972 h 3540825"/>
              <a:gd name="connsiteX18" fmla="*/ 0 w 3083058"/>
              <a:gd name="connsiteY18" fmla="*/ 2599742 h 3540825"/>
              <a:gd name="connsiteX19" fmla="*/ 0 w 3083058"/>
              <a:gd name="connsiteY19" fmla="*/ 2046856 h 3540825"/>
              <a:gd name="connsiteX20" fmla="*/ 0 w 3083058"/>
              <a:gd name="connsiteY20" fmla="*/ 1544232 h 3540825"/>
              <a:gd name="connsiteX21" fmla="*/ 0 w 3083058"/>
              <a:gd name="connsiteY21" fmla="*/ 1091870 h 3540825"/>
              <a:gd name="connsiteX22" fmla="*/ 0 w 3083058"/>
              <a:gd name="connsiteY22" fmla="*/ 513853 h 354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083058" h="3540825" extrusionOk="0">
                <a:moveTo>
                  <a:pt x="0" y="513853"/>
                </a:moveTo>
                <a:cubicBezTo>
                  <a:pt x="-63821" y="190694"/>
                  <a:pt x="187314" y="16043"/>
                  <a:pt x="513853" y="0"/>
                </a:cubicBezTo>
                <a:cubicBezTo>
                  <a:pt x="713129" y="-14821"/>
                  <a:pt x="869427" y="28123"/>
                  <a:pt x="1068798" y="0"/>
                </a:cubicBezTo>
                <a:cubicBezTo>
                  <a:pt x="1268169" y="-28123"/>
                  <a:pt x="1317565" y="57900"/>
                  <a:pt x="1562083" y="0"/>
                </a:cubicBezTo>
                <a:cubicBezTo>
                  <a:pt x="1806601" y="-57900"/>
                  <a:pt x="1851761" y="11437"/>
                  <a:pt x="2034813" y="0"/>
                </a:cubicBezTo>
                <a:cubicBezTo>
                  <a:pt x="2217865" y="-11437"/>
                  <a:pt x="2452544" y="48083"/>
                  <a:pt x="2569205" y="0"/>
                </a:cubicBezTo>
                <a:cubicBezTo>
                  <a:pt x="2873950" y="-43120"/>
                  <a:pt x="3066959" y="227595"/>
                  <a:pt x="3083058" y="513853"/>
                </a:cubicBezTo>
                <a:cubicBezTo>
                  <a:pt x="3084645" y="647007"/>
                  <a:pt x="3071786" y="798711"/>
                  <a:pt x="3083058" y="1016477"/>
                </a:cubicBezTo>
                <a:cubicBezTo>
                  <a:pt x="3094330" y="1234243"/>
                  <a:pt x="3034871" y="1414205"/>
                  <a:pt x="3083058" y="1569363"/>
                </a:cubicBezTo>
                <a:cubicBezTo>
                  <a:pt x="3131245" y="1724521"/>
                  <a:pt x="3040623" y="1860339"/>
                  <a:pt x="3083058" y="1996593"/>
                </a:cubicBezTo>
                <a:cubicBezTo>
                  <a:pt x="3125493" y="2132847"/>
                  <a:pt x="3073548" y="2354671"/>
                  <a:pt x="3083058" y="2499217"/>
                </a:cubicBezTo>
                <a:cubicBezTo>
                  <a:pt x="3092568" y="2643763"/>
                  <a:pt x="3046948" y="2798149"/>
                  <a:pt x="3083058" y="3026972"/>
                </a:cubicBezTo>
                <a:cubicBezTo>
                  <a:pt x="3128088" y="3266268"/>
                  <a:pt x="2908958" y="3504742"/>
                  <a:pt x="2569205" y="3540825"/>
                </a:cubicBezTo>
                <a:cubicBezTo>
                  <a:pt x="2439243" y="3581174"/>
                  <a:pt x="2174681" y="3489289"/>
                  <a:pt x="2055367" y="3540825"/>
                </a:cubicBezTo>
                <a:cubicBezTo>
                  <a:pt x="1936053" y="3592361"/>
                  <a:pt x="1730368" y="3534225"/>
                  <a:pt x="1582636" y="3540825"/>
                </a:cubicBezTo>
                <a:cubicBezTo>
                  <a:pt x="1434904" y="3547425"/>
                  <a:pt x="1224339" y="3521937"/>
                  <a:pt x="1068798" y="3540825"/>
                </a:cubicBezTo>
                <a:cubicBezTo>
                  <a:pt x="913257" y="3559713"/>
                  <a:pt x="735699" y="3485737"/>
                  <a:pt x="513853" y="3540825"/>
                </a:cubicBezTo>
                <a:cubicBezTo>
                  <a:pt x="219566" y="3509258"/>
                  <a:pt x="76651" y="3295193"/>
                  <a:pt x="0" y="3026972"/>
                </a:cubicBezTo>
                <a:cubicBezTo>
                  <a:pt x="-33977" y="2891023"/>
                  <a:pt x="13887" y="2801848"/>
                  <a:pt x="0" y="2599742"/>
                </a:cubicBezTo>
                <a:cubicBezTo>
                  <a:pt x="-13887" y="2397636"/>
                  <a:pt x="41711" y="2235790"/>
                  <a:pt x="0" y="2046856"/>
                </a:cubicBezTo>
                <a:cubicBezTo>
                  <a:pt x="-41711" y="1857922"/>
                  <a:pt x="34097" y="1747840"/>
                  <a:pt x="0" y="1544232"/>
                </a:cubicBezTo>
                <a:cubicBezTo>
                  <a:pt x="-34097" y="1340624"/>
                  <a:pt x="25886" y="1240929"/>
                  <a:pt x="0" y="1091870"/>
                </a:cubicBezTo>
                <a:cubicBezTo>
                  <a:pt x="-25886" y="942811"/>
                  <a:pt x="64959" y="742895"/>
                  <a:pt x="0" y="513853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0949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Template Specs UI </a:t>
            </a:r>
            <a:r>
              <a:rPr lang="en-US" i="0" u="none" strike="noStrike" dirty="0"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Pros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Idempotency-er (dependencies are included)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1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14384" y="2841878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7925" y="2526460"/>
            <a:ext cx="1963754" cy="196375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9C09223-D36A-E074-1AA6-0CB54D96C302}"/>
              </a:ext>
            </a:extLst>
          </p:cNvPr>
          <p:cNvSpPr txBox="1"/>
          <p:nvPr/>
        </p:nvSpPr>
        <p:spPr>
          <a:xfrm>
            <a:off x="861162" y="4896951"/>
            <a:ext cx="1236877" cy="369332"/>
          </a:xfrm>
          <a:custGeom>
            <a:avLst/>
            <a:gdLst>
              <a:gd name="connsiteX0" fmla="*/ 0 w 1236877"/>
              <a:gd name="connsiteY0" fmla="*/ 0 h 369332"/>
              <a:gd name="connsiteX1" fmla="*/ 399924 w 1236877"/>
              <a:gd name="connsiteY1" fmla="*/ 0 h 369332"/>
              <a:gd name="connsiteX2" fmla="*/ 775110 w 1236877"/>
              <a:gd name="connsiteY2" fmla="*/ 0 h 369332"/>
              <a:gd name="connsiteX3" fmla="*/ 1236877 w 1236877"/>
              <a:gd name="connsiteY3" fmla="*/ 0 h 369332"/>
              <a:gd name="connsiteX4" fmla="*/ 1236877 w 1236877"/>
              <a:gd name="connsiteY4" fmla="*/ 369332 h 369332"/>
              <a:gd name="connsiteX5" fmla="*/ 849322 w 1236877"/>
              <a:gd name="connsiteY5" fmla="*/ 369332 h 369332"/>
              <a:gd name="connsiteX6" fmla="*/ 412292 w 1236877"/>
              <a:gd name="connsiteY6" fmla="*/ 369332 h 369332"/>
              <a:gd name="connsiteX7" fmla="*/ 0 w 1236877"/>
              <a:gd name="connsiteY7" fmla="*/ 369332 h 369332"/>
              <a:gd name="connsiteX8" fmla="*/ 0 w 1236877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6877" h="369332" extrusionOk="0">
                <a:moveTo>
                  <a:pt x="0" y="0"/>
                </a:moveTo>
                <a:cubicBezTo>
                  <a:pt x="175328" y="-17771"/>
                  <a:pt x="280012" y="20305"/>
                  <a:pt x="399924" y="0"/>
                </a:cubicBezTo>
                <a:cubicBezTo>
                  <a:pt x="519836" y="-20305"/>
                  <a:pt x="673338" y="9360"/>
                  <a:pt x="775110" y="0"/>
                </a:cubicBezTo>
                <a:cubicBezTo>
                  <a:pt x="876882" y="-9360"/>
                  <a:pt x="1091270" y="30966"/>
                  <a:pt x="1236877" y="0"/>
                </a:cubicBezTo>
                <a:cubicBezTo>
                  <a:pt x="1272465" y="113493"/>
                  <a:pt x="1210070" y="197069"/>
                  <a:pt x="1236877" y="369332"/>
                </a:cubicBezTo>
                <a:cubicBezTo>
                  <a:pt x="1057692" y="380605"/>
                  <a:pt x="987291" y="349777"/>
                  <a:pt x="849322" y="369332"/>
                </a:cubicBezTo>
                <a:cubicBezTo>
                  <a:pt x="711353" y="388887"/>
                  <a:pt x="537900" y="327536"/>
                  <a:pt x="412292" y="369332"/>
                </a:cubicBezTo>
                <a:cubicBezTo>
                  <a:pt x="286684" y="411128"/>
                  <a:pt x="158184" y="356080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Develop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CEC175-E2F9-A40F-65CB-92B68AEF21E7}"/>
              </a:ext>
            </a:extLst>
          </p:cNvPr>
          <p:cNvSpPr txBox="1"/>
          <p:nvPr/>
        </p:nvSpPr>
        <p:spPr>
          <a:xfrm>
            <a:off x="1508830" y="5420858"/>
            <a:ext cx="1548565" cy="369332"/>
          </a:xfrm>
          <a:custGeom>
            <a:avLst/>
            <a:gdLst>
              <a:gd name="connsiteX0" fmla="*/ 0 w 1548565"/>
              <a:gd name="connsiteY0" fmla="*/ 0 h 369332"/>
              <a:gd name="connsiteX1" fmla="*/ 500703 w 1548565"/>
              <a:gd name="connsiteY1" fmla="*/ 0 h 369332"/>
              <a:gd name="connsiteX2" fmla="*/ 970434 w 1548565"/>
              <a:gd name="connsiteY2" fmla="*/ 0 h 369332"/>
              <a:gd name="connsiteX3" fmla="*/ 1548565 w 1548565"/>
              <a:gd name="connsiteY3" fmla="*/ 0 h 369332"/>
              <a:gd name="connsiteX4" fmla="*/ 1548565 w 1548565"/>
              <a:gd name="connsiteY4" fmla="*/ 369332 h 369332"/>
              <a:gd name="connsiteX5" fmla="*/ 1063348 w 1548565"/>
              <a:gd name="connsiteY5" fmla="*/ 369332 h 369332"/>
              <a:gd name="connsiteX6" fmla="*/ 516188 w 1548565"/>
              <a:gd name="connsiteY6" fmla="*/ 369332 h 369332"/>
              <a:gd name="connsiteX7" fmla="*/ 0 w 1548565"/>
              <a:gd name="connsiteY7" fmla="*/ 369332 h 369332"/>
              <a:gd name="connsiteX8" fmla="*/ 0 w 1548565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8565" h="369332" extrusionOk="0">
                <a:moveTo>
                  <a:pt x="0" y="0"/>
                </a:moveTo>
                <a:cubicBezTo>
                  <a:pt x="188744" y="-47250"/>
                  <a:pt x="363565" y="29188"/>
                  <a:pt x="500703" y="0"/>
                </a:cubicBezTo>
                <a:cubicBezTo>
                  <a:pt x="637841" y="-29188"/>
                  <a:pt x="876338" y="27244"/>
                  <a:pt x="970434" y="0"/>
                </a:cubicBezTo>
                <a:cubicBezTo>
                  <a:pt x="1064530" y="-27244"/>
                  <a:pt x="1364252" y="59563"/>
                  <a:pt x="1548565" y="0"/>
                </a:cubicBezTo>
                <a:cubicBezTo>
                  <a:pt x="1584153" y="113493"/>
                  <a:pt x="1521758" y="197069"/>
                  <a:pt x="1548565" y="369332"/>
                </a:cubicBezTo>
                <a:cubicBezTo>
                  <a:pt x="1380486" y="378330"/>
                  <a:pt x="1230603" y="356389"/>
                  <a:pt x="1063348" y="369332"/>
                </a:cubicBezTo>
                <a:cubicBezTo>
                  <a:pt x="896093" y="382275"/>
                  <a:pt x="690595" y="357083"/>
                  <a:pt x="516188" y="369332"/>
                </a:cubicBezTo>
                <a:cubicBezTo>
                  <a:pt x="341781" y="381581"/>
                  <a:pt x="145639" y="3359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Platform Tea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635322" y="4373044"/>
            <a:ext cx="2422073" cy="369332"/>
          </a:xfrm>
          <a:custGeom>
            <a:avLst/>
            <a:gdLst>
              <a:gd name="connsiteX0" fmla="*/ 0 w 2422073"/>
              <a:gd name="connsiteY0" fmla="*/ 0 h 369332"/>
              <a:gd name="connsiteX1" fmla="*/ 460194 w 2422073"/>
              <a:gd name="connsiteY1" fmla="*/ 0 h 369332"/>
              <a:gd name="connsiteX2" fmla="*/ 871946 w 2422073"/>
              <a:gd name="connsiteY2" fmla="*/ 0 h 369332"/>
              <a:gd name="connsiteX3" fmla="*/ 1404802 w 2422073"/>
              <a:gd name="connsiteY3" fmla="*/ 0 h 369332"/>
              <a:gd name="connsiteX4" fmla="*/ 1864996 w 2422073"/>
              <a:gd name="connsiteY4" fmla="*/ 0 h 369332"/>
              <a:gd name="connsiteX5" fmla="*/ 2422073 w 2422073"/>
              <a:gd name="connsiteY5" fmla="*/ 0 h 369332"/>
              <a:gd name="connsiteX6" fmla="*/ 2422073 w 2422073"/>
              <a:gd name="connsiteY6" fmla="*/ 369332 h 369332"/>
              <a:gd name="connsiteX7" fmla="*/ 1937658 w 2422073"/>
              <a:gd name="connsiteY7" fmla="*/ 369332 h 369332"/>
              <a:gd name="connsiteX8" fmla="*/ 1404802 w 2422073"/>
              <a:gd name="connsiteY8" fmla="*/ 369332 h 369332"/>
              <a:gd name="connsiteX9" fmla="*/ 993050 w 2422073"/>
              <a:gd name="connsiteY9" fmla="*/ 369332 h 369332"/>
              <a:gd name="connsiteX10" fmla="*/ 508635 w 2422073"/>
              <a:gd name="connsiteY10" fmla="*/ 369332 h 369332"/>
              <a:gd name="connsiteX11" fmla="*/ 0 w 2422073"/>
              <a:gd name="connsiteY11" fmla="*/ 369332 h 369332"/>
              <a:gd name="connsiteX12" fmla="*/ 0 w 2422073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22073" h="369332" extrusionOk="0">
                <a:moveTo>
                  <a:pt x="0" y="0"/>
                </a:moveTo>
                <a:cubicBezTo>
                  <a:pt x="199693" y="-10251"/>
                  <a:pt x="246167" y="30869"/>
                  <a:pt x="460194" y="0"/>
                </a:cubicBezTo>
                <a:cubicBezTo>
                  <a:pt x="674221" y="-30869"/>
                  <a:pt x="708354" y="1783"/>
                  <a:pt x="871946" y="0"/>
                </a:cubicBezTo>
                <a:cubicBezTo>
                  <a:pt x="1035538" y="-1783"/>
                  <a:pt x="1215339" y="49588"/>
                  <a:pt x="1404802" y="0"/>
                </a:cubicBezTo>
                <a:cubicBezTo>
                  <a:pt x="1594265" y="-49588"/>
                  <a:pt x="1640279" y="31720"/>
                  <a:pt x="1864996" y="0"/>
                </a:cubicBezTo>
                <a:cubicBezTo>
                  <a:pt x="2089713" y="-31720"/>
                  <a:pt x="2225679" y="45722"/>
                  <a:pt x="2422073" y="0"/>
                </a:cubicBezTo>
                <a:cubicBezTo>
                  <a:pt x="2458233" y="81226"/>
                  <a:pt x="2400535" y="278722"/>
                  <a:pt x="2422073" y="369332"/>
                </a:cubicBezTo>
                <a:cubicBezTo>
                  <a:pt x="2243299" y="402811"/>
                  <a:pt x="2104963" y="338227"/>
                  <a:pt x="1937658" y="369332"/>
                </a:cubicBezTo>
                <a:cubicBezTo>
                  <a:pt x="1770354" y="400437"/>
                  <a:pt x="1620687" y="307360"/>
                  <a:pt x="1404802" y="369332"/>
                </a:cubicBezTo>
                <a:cubicBezTo>
                  <a:pt x="1188917" y="431304"/>
                  <a:pt x="1131819" y="335684"/>
                  <a:pt x="993050" y="369332"/>
                </a:cubicBezTo>
                <a:cubicBezTo>
                  <a:pt x="854281" y="402980"/>
                  <a:pt x="704761" y="348963"/>
                  <a:pt x="508635" y="369332"/>
                </a:cubicBezTo>
                <a:cubicBezTo>
                  <a:pt x="312510" y="389701"/>
                  <a:pt x="246365" y="328998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Operations/Onboarding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29254" y="4337825"/>
            <a:ext cx="1270677" cy="386034"/>
          </a:xfrm>
          <a:custGeom>
            <a:avLst/>
            <a:gdLst>
              <a:gd name="connsiteX0" fmla="*/ 0 w 1270677"/>
              <a:gd name="connsiteY0" fmla="*/ 64340 h 386034"/>
              <a:gd name="connsiteX1" fmla="*/ 64340 w 1270677"/>
              <a:gd name="connsiteY1" fmla="*/ 0 h 386034"/>
              <a:gd name="connsiteX2" fmla="*/ 658178 w 1270677"/>
              <a:gd name="connsiteY2" fmla="*/ 0 h 386034"/>
              <a:gd name="connsiteX3" fmla="*/ 1206337 w 1270677"/>
              <a:gd name="connsiteY3" fmla="*/ 0 h 386034"/>
              <a:gd name="connsiteX4" fmla="*/ 1270677 w 1270677"/>
              <a:gd name="connsiteY4" fmla="*/ 64340 h 386034"/>
              <a:gd name="connsiteX5" fmla="*/ 1270677 w 1270677"/>
              <a:gd name="connsiteY5" fmla="*/ 321694 h 386034"/>
              <a:gd name="connsiteX6" fmla="*/ 1206337 w 1270677"/>
              <a:gd name="connsiteY6" fmla="*/ 386034 h 386034"/>
              <a:gd name="connsiteX7" fmla="*/ 635339 w 1270677"/>
              <a:gd name="connsiteY7" fmla="*/ 386034 h 386034"/>
              <a:gd name="connsiteX8" fmla="*/ 64340 w 1270677"/>
              <a:gd name="connsiteY8" fmla="*/ 386034 h 386034"/>
              <a:gd name="connsiteX9" fmla="*/ 0 w 1270677"/>
              <a:gd name="connsiteY9" fmla="*/ 321694 h 386034"/>
              <a:gd name="connsiteX10" fmla="*/ 0 w 1270677"/>
              <a:gd name="connsiteY10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0677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305104" y="-12353"/>
                  <a:pt x="404359" y="-13726"/>
                  <a:pt x="658178" y="0"/>
                </a:cubicBezTo>
                <a:cubicBezTo>
                  <a:pt x="911997" y="13726"/>
                  <a:pt x="1013716" y="-11684"/>
                  <a:pt x="1206337" y="0"/>
                </a:cubicBezTo>
                <a:cubicBezTo>
                  <a:pt x="1234352" y="-4114"/>
                  <a:pt x="1274606" y="30683"/>
                  <a:pt x="1270677" y="64340"/>
                </a:cubicBezTo>
                <a:cubicBezTo>
                  <a:pt x="1276931" y="162416"/>
                  <a:pt x="1279897" y="205598"/>
                  <a:pt x="1270677" y="321694"/>
                </a:cubicBezTo>
                <a:cubicBezTo>
                  <a:pt x="1272476" y="354301"/>
                  <a:pt x="1236545" y="390714"/>
                  <a:pt x="1206337" y="386034"/>
                </a:cubicBezTo>
                <a:cubicBezTo>
                  <a:pt x="1018204" y="391331"/>
                  <a:pt x="872347" y="408582"/>
                  <a:pt x="635339" y="386034"/>
                </a:cubicBezTo>
                <a:cubicBezTo>
                  <a:pt x="398331" y="363486"/>
                  <a:pt x="230275" y="367458"/>
                  <a:pt x="64340" y="386034"/>
                </a:cubicBezTo>
                <a:cubicBezTo>
                  <a:pt x="21150" y="385596"/>
                  <a:pt x="2276" y="350987"/>
                  <a:pt x="0" y="321694"/>
                </a:cubicBezTo>
                <a:cubicBezTo>
                  <a:pt x="3363" y="261429"/>
                  <a:pt x="10077" y="168251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8098358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2FC9430-89FA-B6F5-FF73-09BF4CD95552}"/>
              </a:ext>
            </a:extLst>
          </p:cNvPr>
          <p:cNvSpPr txBox="1">
            <a:spLocks/>
          </p:cNvSpPr>
          <p:nvPr/>
        </p:nvSpPr>
        <p:spPr>
          <a:xfrm>
            <a:off x="4398363" y="4349404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Key Principles</a:t>
            </a:r>
          </a:p>
          <a:p>
            <a:pPr>
              <a:buFontTx/>
              <a:buChar char="-"/>
            </a:pPr>
            <a:r>
              <a:rPr lang="en-US" sz="1600" dirty="0"/>
              <a:t>Source Control</a:t>
            </a:r>
          </a:p>
          <a:p>
            <a:pPr>
              <a:buFontTx/>
              <a:buChar char="-"/>
            </a:pPr>
            <a:r>
              <a:rPr lang="en-US" sz="1600" dirty="0"/>
              <a:t>Modularization and versioning</a:t>
            </a:r>
          </a:p>
          <a:p>
            <a:pPr>
              <a:buFontTx/>
              <a:buChar char="-"/>
            </a:pPr>
            <a:r>
              <a:rPr lang="en-US" sz="1600" dirty="0"/>
              <a:t>Idempotency</a:t>
            </a:r>
          </a:p>
          <a:p>
            <a:pPr>
              <a:buFontTx/>
              <a:buChar char="-"/>
            </a:pPr>
            <a:r>
              <a:rPr lang="en-US" sz="1600" dirty="0"/>
              <a:t>Immutability</a:t>
            </a:r>
          </a:p>
          <a:p>
            <a:pPr>
              <a:buFontTx/>
              <a:buChar char="-"/>
            </a:pPr>
            <a:r>
              <a:rPr lang="en-US" sz="1600" dirty="0"/>
              <a:t>CICD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8952275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9806192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FFC8AE4-5582-19C0-DED3-63D8270B8571}"/>
              </a:ext>
            </a:extLst>
          </p:cNvPr>
          <p:cNvGrpSpPr/>
          <p:nvPr/>
        </p:nvGrpSpPr>
        <p:grpSpPr>
          <a:xfrm>
            <a:off x="5075020" y="2636981"/>
            <a:ext cx="1491970" cy="1694291"/>
            <a:chOff x="3591201" y="2800773"/>
            <a:chExt cx="887513" cy="946980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804CD20B-D34E-E250-FE43-7F9A981600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>
              <a:extLst>
                <a:ext uri="{FF2B5EF4-FFF2-40B4-BE49-F238E27FC236}">
                  <a16:creationId xmlns:a16="http://schemas.microsoft.com/office/drawing/2014/main" id="{589B69B8-B088-4632-7BDA-773B26D65C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5E82655F-7EC7-C105-EAA2-389E5E131E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24EF291-C501-D101-0029-071EE9043CF4}"/>
              </a:ext>
            </a:extLst>
          </p:cNvPr>
          <p:cNvSpPr/>
          <p:nvPr/>
        </p:nvSpPr>
        <p:spPr>
          <a:xfrm>
            <a:off x="4187983" y="2655113"/>
            <a:ext cx="3083058" cy="3540825"/>
          </a:xfrm>
          <a:custGeom>
            <a:avLst/>
            <a:gdLst>
              <a:gd name="connsiteX0" fmla="*/ 0 w 3083058"/>
              <a:gd name="connsiteY0" fmla="*/ 513853 h 3540825"/>
              <a:gd name="connsiteX1" fmla="*/ 513853 w 3083058"/>
              <a:gd name="connsiteY1" fmla="*/ 0 h 3540825"/>
              <a:gd name="connsiteX2" fmla="*/ 1068798 w 3083058"/>
              <a:gd name="connsiteY2" fmla="*/ 0 h 3540825"/>
              <a:gd name="connsiteX3" fmla="*/ 1562083 w 3083058"/>
              <a:gd name="connsiteY3" fmla="*/ 0 h 3540825"/>
              <a:gd name="connsiteX4" fmla="*/ 2034813 w 3083058"/>
              <a:gd name="connsiteY4" fmla="*/ 0 h 3540825"/>
              <a:gd name="connsiteX5" fmla="*/ 2569205 w 3083058"/>
              <a:gd name="connsiteY5" fmla="*/ 0 h 3540825"/>
              <a:gd name="connsiteX6" fmla="*/ 3083058 w 3083058"/>
              <a:gd name="connsiteY6" fmla="*/ 513853 h 3540825"/>
              <a:gd name="connsiteX7" fmla="*/ 3083058 w 3083058"/>
              <a:gd name="connsiteY7" fmla="*/ 1016477 h 3540825"/>
              <a:gd name="connsiteX8" fmla="*/ 3083058 w 3083058"/>
              <a:gd name="connsiteY8" fmla="*/ 1569363 h 3540825"/>
              <a:gd name="connsiteX9" fmla="*/ 3083058 w 3083058"/>
              <a:gd name="connsiteY9" fmla="*/ 1996593 h 3540825"/>
              <a:gd name="connsiteX10" fmla="*/ 3083058 w 3083058"/>
              <a:gd name="connsiteY10" fmla="*/ 2499217 h 3540825"/>
              <a:gd name="connsiteX11" fmla="*/ 3083058 w 3083058"/>
              <a:gd name="connsiteY11" fmla="*/ 3026972 h 3540825"/>
              <a:gd name="connsiteX12" fmla="*/ 2569205 w 3083058"/>
              <a:gd name="connsiteY12" fmla="*/ 3540825 h 3540825"/>
              <a:gd name="connsiteX13" fmla="*/ 2055367 w 3083058"/>
              <a:gd name="connsiteY13" fmla="*/ 3540825 h 3540825"/>
              <a:gd name="connsiteX14" fmla="*/ 1582636 w 3083058"/>
              <a:gd name="connsiteY14" fmla="*/ 3540825 h 3540825"/>
              <a:gd name="connsiteX15" fmla="*/ 1068798 w 3083058"/>
              <a:gd name="connsiteY15" fmla="*/ 3540825 h 3540825"/>
              <a:gd name="connsiteX16" fmla="*/ 513853 w 3083058"/>
              <a:gd name="connsiteY16" fmla="*/ 3540825 h 3540825"/>
              <a:gd name="connsiteX17" fmla="*/ 0 w 3083058"/>
              <a:gd name="connsiteY17" fmla="*/ 3026972 h 3540825"/>
              <a:gd name="connsiteX18" fmla="*/ 0 w 3083058"/>
              <a:gd name="connsiteY18" fmla="*/ 2599742 h 3540825"/>
              <a:gd name="connsiteX19" fmla="*/ 0 w 3083058"/>
              <a:gd name="connsiteY19" fmla="*/ 2046856 h 3540825"/>
              <a:gd name="connsiteX20" fmla="*/ 0 w 3083058"/>
              <a:gd name="connsiteY20" fmla="*/ 1544232 h 3540825"/>
              <a:gd name="connsiteX21" fmla="*/ 0 w 3083058"/>
              <a:gd name="connsiteY21" fmla="*/ 1091870 h 3540825"/>
              <a:gd name="connsiteX22" fmla="*/ 0 w 3083058"/>
              <a:gd name="connsiteY22" fmla="*/ 513853 h 354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083058" h="3540825" extrusionOk="0">
                <a:moveTo>
                  <a:pt x="0" y="513853"/>
                </a:moveTo>
                <a:cubicBezTo>
                  <a:pt x="-63821" y="190694"/>
                  <a:pt x="187314" y="16043"/>
                  <a:pt x="513853" y="0"/>
                </a:cubicBezTo>
                <a:cubicBezTo>
                  <a:pt x="713129" y="-14821"/>
                  <a:pt x="869427" y="28123"/>
                  <a:pt x="1068798" y="0"/>
                </a:cubicBezTo>
                <a:cubicBezTo>
                  <a:pt x="1268169" y="-28123"/>
                  <a:pt x="1317565" y="57900"/>
                  <a:pt x="1562083" y="0"/>
                </a:cubicBezTo>
                <a:cubicBezTo>
                  <a:pt x="1806601" y="-57900"/>
                  <a:pt x="1851761" y="11437"/>
                  <a:pt x="2034813" y="0"/>
                </a:cubicBezTo>
                <a:cubicBezTo>
                  <a:pt x="2217865" y="-11437"/>
                  <a:pt x="2452544" y="48083"/>
                  <a:pt x="2569205" y="0"/>
                </a:cubicBezTo>
                <a:cubicBezTo>
                  <a:pt x="2873950" y="-43120"/>
                  <a:pt x="3066959" y="227595"/>
                  <a:pt x="3083058" y="513853"/>
                </a:cubicBezTo>
                <a:cubicBezTo>
                  <a:pt x="3084645" y="647007"/>
                  <a:pt x="3071786" y="798711"/>
                  <a:pt x="3083058" y="1016477"/>
                </a:cubicBezTo>
                <a:cubicBezTo>
                  <a:pt x="3094330" y="1234243"/>
                  <a:pt x="3034871" y="1414205"/>
                  <a:pt x="3083058" y="1569363"/>
                </a:cubicBezTo>
                <a:cubicBezTo>
                  <a:pt x="3131245" y="1724521"/>
                  <a:pt x="3040623" y="1860339"/>
                  <a:pt x="3083058" y="1996593"/>
                </a:cubicBezTo>
                <a:cubicBezTo>
                  <a:pt x="3125493" y="2132847"/>
                  <a:pt x="3073548" y="2354671"/>
                  <a:pt x="3083058" y="2499217"/>
                </a:cubicBezTo>
                <a:cubicBezTo>
                  <a:pt x="3092568" y="2643763"/>
                  <a:pt x="3046948" y="2798149"/>
                  <a:pt x="3083058" y="3026972"/>
                </a:cubicBezTo>
                <a:cubicBezTo>
                  <a:pt x="3128088" y="3266268"/>
                  <a:pt x="2908958" y="3504742"/>
                  <a:pt x="2569205" y="3540825"/>
                </a:cubicBezTo>
                <a:cubicBezTo>
                  <a:pt x="2439243" y="3581174"/>
                  <a:pt x="2174681" y="3489289"/>
                  <a:pt x="2055367" y="3540825"/>
                </a:cubicBezTo>
                <a:cubicBezTo>
                  <a:pt x="1936053" y="3592361"/>
                  <a:pt x="1730368" y="3534225"/>
                  <a:pt x="1582636" y="3540825"/>
                </a:cubicBezTo>
                <a:cubicBezTo>
                  <a:pt x="1434904" y="3547425"/>
                  <a:pt x="1224339" y="3521937"/>
                  <a:pt x="1068798" y="3540825"/>
                </a:cubicBezTo>
                <a:cubicBezTo>
                  <a:pt x="913257" y="3559713"/>
                  <a:pt x="735699" y="3485737"/>
                  <a:pt x="513853" y="3540825"/>
                </a:cubicBezTo>
                <a:cubicBezTo>
                  <a:pt x="219566" y="3509258"/>
                  <a:pt x="76651" y="3295193"/>
                  <a:pt x="0" y="3026972"/>
                </a:cubicBezTo>
                <a:cubicBezTo>
                  <a:pt x="-33977" y="2891023"/>
                  <a:pt x="13887" y="2801848"/>
                  <a:pt x="0" y="2599742"/>
                </a:cubicBezTo>
                <a:cubicBezTo>
                  <a:pt x="-13887" y="2397636"/>
                  <a:pt x="41711" y="2235790"/>
                  <a:pt x="0" y="2046856"/>
                </a:cubicBezTo>
                <a:cubicBezTo>
                  <a:pt x="-41711" y="1857922"/>
                  <a:pt x="34097" y="1747840"/>
                  <a:pt x="0" y="1544232"/>
                </a:cubicBezTo>
                <a:cubicBezTo>
                  <a:pt x="-34097" y="1340624"/>
                  <a:pt x="25886" y="1240929"/>
                  <a:pt x="0" y="1091870"/>
                </a:cubicBezTo>
                <a:cubicBezTo>
                  <a:pt x="-25886" y="942811"/>
                  <a:pt x="64959" y="742895"/>
                  <a:pt x="0" y="513853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417801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Template Specs UI Tabs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sz="2000" dirty="0"/>
              <a:t>But what about more complex deployments, like Applications that consists of multiple standardized resources</a:t>
            </a:r>
          </a:p>
          <a:p>
            <a:pPr marL="0" indent="0">
              <a:buNone/>
            </a:pPr>
            <a:r>
              <a:rPr lang="en-US" sz="2000" b="1" dirty="0">
                <a:solidFill>
                  <a:srgbClr val="FF0000"/>
                </a:solidFill>
              </a:rPr>
              <a:t>Use Tabs as UI composition elements</a:t>
            </a:r>
          </a:p>
        </p:txBody>
      </p:sp>
    </p:spTree>
    <p:extLst>
      <p:ext uri="{BB962C8B-B14F-4D97-AF65-F5344CB8AC3E}">
        <p14:creationId xmlns:p14="http://schemas.microsoft.com/office/powerpoint/2010/main" val="28819624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0778EFC-CC57-4EF6-89FF-014E742142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0778EFC-CC57-4EF6-89FF-014E742142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ángulo 6175">
            <a:extLst>
              <a:ext uri="{FF2B5EF4-FFF2-40B4-BE49-F238E27FC236}">
                <a16:creationId xmlns:a16="http://schemas.microsoft.com/office/drawing/2014/main" id="{86A51F14-CEC0-4873-B851-90AD5CCD0617}"/>
              </a:ext>
            </a:extLst>
          </p:cNvPr>
          <p:cNvSpPr/>
          <p:nvPr/>
        </p:nvSpPr>
        <p:spPr>
          <a:xfrm>
            <a:off x="7913" y="4500462"/>
            <a:ext cx="12214702" cy="2387600"/>
          </a:xfrm>
          <a:prstGeom prst="rect">
            <a:avLst/>
          </a:pr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049CEE6A-F0A8-4DFA-9341-6025BABA637D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6FF0B403-FADC-424A-A227-59D6B88F2456}"/>
              </a:ext>
            </a:extLst>
          </p:cNvPr>
          <p:cNvSpPr/>
          <p:nvPr/>
        </p:nvSpPr>
        <p:spPr>
          <a:xfrm>
            <a:off x="644563" y="1217907"/>
            <a:ext cx="6833921" cy="4449489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B2A14CA-B27E-4A65-85F3-621B5BA14675}"/>
              </a:ext>
            </a:extLst>
          </p:cNvPr>
          <p:cNvSpPr/>
          <p:nvPr/>
        </p:nvSpPr>
        <p:spPr>
          <a:xfrm>
            <a:off x="1104477" y="0"/>
            <a:ext cx="1175537" cy="1385657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F1280CC-AF01-4FA6-9B49-8F44EB574ACE}"/>
              </a:ext>
            </a:extLst>
          </p:cNvPr>
          <p:cNvSpPr/>
          <p:nvPr/>
        </p:nvSpPr>
        <p:spPr>
          <a:xfrm>
            <a:off x="1104477" y="769023"/>
            <a:ext cx="1175537" cy="1175537"/>
          </a:xfrm>
          <a:prstGeom prst="ellipse">
            <a:avLst/>
          </a:prstGeom>
          <a:solidFill>
            <a:srgbClr val="D0101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EF99D574-3FCD-4173-937D-0FA446AEB9D2}"/>
              </a:ext>
            </a:extLst>
          </p:cNvPr>
          <p:cNvSpPr/>
          <p:nvPr/>
        </p:nvSpPr>
        <p:spPr>
          <a:xfrm>
            <a:off x="1324575" y="991834"/>
            <a:ext cx="729915" cy="7299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任意多边形: 形状 16">
            <a:extLst>
              <a:ext uri="{FF2B5EF4-FFF2-40B4-BE49-F238E27FC236}">
                <a16:creationId xmlns:a16="http://schemas.microsoft.com/office/drawing/2014/main" id="{CD17D5EF-C3CA-430D-8D78-9B7A4A92E88A}"/>
              </a:ext>
            </a:extLst>
          </p:cNvPr>
          <p:cNvSpPr/>
          <p:nvPr/>
        </p:nvSpPr>
        <p:spPr>
          <a:xfrm rot="16200000">
            <a:off x="807732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任意多边形: 形状 16">
            <a:extLst>
              <a:ext uri="{FF2B5EF4-FFF2-40B4-BE49-F238E27FC236}">
                <a16:creationId xmlns:a16="http://schemas.microsoft.com/office/drawing/2014/main" id="{CC5943E8-7862-4DAC-87C4-7F35D6FBC9CD}"/>
              </a:ext>
            </a:extLst>
          </p:cNvPr>
          <p:cNvSpPr/>
          <p:nvPr/>
        </p:nvSpPr>
        <p:spPr>
          <a:xfrm rot="16200000">
            <a:off x="807732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Rectángulo 6175">
            <a:extLst>
              <a:ext uri="{FF2B5EF4-FFF2-40B4-BE49-F238E27FC236}">
                <a16:creationId xmlns:a16="http://schemas.microsoft.com/office/drawing/2014/main" id="{8B9CA6E7-7271-4C1A-9106-2069F65592DD}"/>
              </a:ext>
            </a:extLst>
          </p:cNvPr>
          <p:cNvSpPr/>
          <p:nvPr/>
        </p:nvSpPr>
        <p:spPr>
          <a:xfrm>
            <a:off x="9681028" y="0"/>
            <a:ext cx="2533673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ángulo 6175">
            <a:extLst>
              <a:ext uri="{FF2B5EF4-FFF2-40B4-BE49-F238E27FC236}">
                <a16:creationId xmlns:a16="http://schemas.microsoft.com/office/drawing/2014/main" id="{63057CCC-8D68-4B3B-A6A3-B3A9F797FE6D}"/>
              </a:ext>
            </a:extLst>
          </p:cNvPr>
          <p:cNvSpPr/>
          <p:nvPr/>
        </p:nvSpPr>
        <p:spPr>
          <a:xfrm>
            <a:off x="11829143" y="0"/>
            <a:ext cx="385557" cy="6858000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BFC38C69-061C-4D96-8765-E5AE867E3A82}"/>
              </a:ext>
            </a:extLst>
          </p:cNvPr>
          <p:cNvSpPr/>
          <p:nvPr/>
        </p:nvSpPr>
        <p:spPr>
          <a:xfrm rot="16200000">
            <a:off x="10254466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16">
            <a:extLst>
              <a:ext uri="{FF2B5EF4-FFF2-40B4-BE49-F238E27FC236}">
                <a16:creationId xmlns:a16="http://schemas.microsoft.com/office/drawing/2014/main" id="{1FE673F1-E8EA-4A14-BD79-3511A9C956BC}"/>
              </a:ext>
            </a:extLst>
          </p:cNvPr>
          <p:cNvSpPr/>
          <p:nvPr/>
        </p:nvSpPr>
        <p:spPr>
          <a:xfrm rot="16200000">
            <a:off x="10254466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69D15F79-29F9-45CC-9D3C-E64A8C4AE0FA}"/>
              </a:ext>
            </a:extLst>
          </p:cNvPr>
          <p:cNvSpPr/>
          <p:nvPr/>
        </p:nvSpPr>
        <p:spPr>
          <a:xfrm>
            <a:off x="6666889" y="1204256"/>
            <a:ext cx="5547811" cy="4449489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A1F34D-EB98-4CAD-A1DE-7AC573B10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613" y="2184696"/>
            <a:ext cx="4303725" cy="741568"/>
          </a:xfrm>
        </p:spPr>
        <p:txBody>
          <a:bodyPr lIns="0" rIns="0">
            <a:normAutofit/>
          </a:bodyPr>
          <a:lstStyle/>
          <a:p>
            <a:pPr lvl="0"/>
            <a:r>
              <a:rPr lang="en-US" sz="4400" b="1" dirty="0">
                <a:latin typeface="Segoe UI" panose="020B0502040204020203" pitchFamily="34" charset="0"/>
                <a:cs typeface="Segoe UI" panose="020B0502040204020203" pitchFamily="34" charset="0"/>
              </a:rPr>
              <a:t>Composition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0C835E6-5275-478D-B06E-63B529F28218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8EDDE3A-9B37-43A6-8AC5-022DDD0AA58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0B669C6-75C7-488F-90E7-B0037991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23</a:t>
            </a:fld>
            <a:endParaRPr lang="en-US" dirty="0"/>
          </a:p>
        </p:txBody>
      </p:sp>
      <p:pic>
        <p:nvPicPr>
          <p:cNvPr id="53" name="Picture 52" descr="Background pattern&#10;&#10;Description automatically generated">
            <a:extLst>
              <a:ext uri="{FF2B5EF4-FFF2-40B4-BE49-F238E27FC236}">
                <a16:creationId xmlns:a16="http://schemas.microsoft.com/office/drawing/2014/main" id="{E1377084-21E0-42A7-B144-A69CF5A6D83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92413" y="1385657"/>
            <a:ext cx="5322288" cy="4021639"/>
          </a:xfrm>
          <a:custGeom>
            <a:avLst/>
            <a:gdLst>
              <a:gd name="connsiteX0" fmla="*/ 655598 w 5978515"/>
              <a:gd name="connsiteY0" fmla="*/ 0 h 4021639"/>
              <a:gd name="connsiteX1" fmla="*/ 5978515 w 5978515"/>
              <a:gd name="connsiteY1" fmla="*/ 0 h 4021639"/>
              <a:gd name="connsiteX2" fmla="*/ 5978515 w 5978515"/>
              <a:gd name="connsiteY2" fmla="*/ 4021639 h 4021639"/>
              <a:gd name="connsiteX3" fmla="*/ 655598 w 5978515"/>
              <a:gd name="connsiteY3" fmla="*/ 4021639 h 4021639"/>
              <a:gd name="connsiteX4" fmla="*/ 0 w 5978515"/>
              <a:gd name="connsiteY4" fmla="*/ 3351353 h 4021639"/>
              <a:gd name="connsiteX5" fmla="*/ 0 w 5978515"/>
              <a:gd name="connsiteY5" fmla="*/ 670286 h 4021639"/>
              <a:gd name="connsiteX6" fmla="*/ 655598 w 5978515"/>
              <a:gd name="connsiteY6" fmla="*/ 0 h 4021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78515" h="4021639">
                <a:moveTo>
                  <a:pt x="655598" y="0"/>
                </a:moveTo>
                <a:lnTo>
                  <a:pt x="5978515" y="0"/>
                </a:lnTo>
                <a:lnTo>
                  <a:pt x="5978515" y="4021639"/>
                </a:lnTo>
                <a:lnTo>
                  <a:pt x="655598" y="4021639"/>
                </a:lnTo>
                <a:cubicBezTo>
                  <a:pt x="293521" y="4021639"/>
                  <a:pt x="0" y="3721542"/>
                  <a:pt x="0" y="3351353"/>
                </a:cubicBezTo>
                <a:lnTo>
                  <a:pt x="0" y="670286"/>
                </a:lnTo>
                <a:cubicBezTo>
                  <a:pt x="0" y="300098"/>
                  <a:pt x="293521" y="0"/>
                  <a:pt x="655598" y="0"/>
                </a:cubicBezTo>
                <a:close/>
              </a:path>
            </a:pathLst>
          </a:cu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09971475-858B-487D-8875-A846C5AC2D16}"/>
              </a:ext>
            </a:extLst>
          </p:cNvPr>
          <p:cNvGrpSpPr/>
          <p:nvPr/>
        </p:nvGrpSpPr>
        <p:grpSpPr>
          <a:xfrm>
            <a:off x="1495252" y="1172799"/>
            <a:ext cx="388560" cy="367985"/>
            <a:chOff x="2805113" y="2247901"/>
            <a:chExt cx="779462" cy="738188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8" name="Freeform 78">
              <a:extLst>
                <a:ext uri="{FF2B5EF4-FFF2-40B4-BE49-F238E27FC236}">
                  <a16:creationId xmlns:a16="http://schemas.microsoft.com/office/drawing/2014/main" id="{B7664ACB-8C2A-436E-89EA-05BADF299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79">
              <a:extLst>
                <a:ext uri="{FF2B5EF4-FFF2-40B4-BE49-F238E27FC236}">
                  <a16:creationId xmlns:a16="http://schemas.microsoft.com/office/drawing/2014/main" id="{D93500A6-717D-481E-8FE5-C94376441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80">
              <a:extLst>
                <a:ext uri="{FF2B5EF4-FFF2-40B4-BE49-F238E27FC236}">
                  <a16:creationId xmlns:a16="http://schemas.microsoft.com/office/drawing/2014/main" id="{F83B5C6C-2A4B-4C64-BA1F-7B4883CC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81">
              <a:extLst>
                <a:ext uri="{FF2B5EF4-FFF2-40B4-BE49-F238E27FC236}">
                  <a16:creationId xmlns:a16="http://schemas.microsoft.com/office/drawing/2014/main" id="{05AD84B9-7AA3-44B9-B394-B0D64F448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82">
              <a:extLst>
                <a:ext uri="{FF2B5EF4-FFF2-40B4-BE49-F238E27FC236}">
                  <a16:creationId xmlns:a16="http://schemas.microsoft.com/office/drawing/2014/main" id="{8CDBE542-6281-41A8-9DEB-B4824C2CC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83">
              <a:extLst>
                <a:ext uri="{FF2B5EF4-FFF2-40B4-BE49-F238E27FC236}">
                  <a16:creationId xmlns:a16="http://schemas.microsoft.com/office/drawing/2014/main" id="{00B99341-F351-46D3-984D-438D2C390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84">
              <a:extLst>
                <a:ext uri="{FF2B5EF4-FFF2-40B4-BE49-F238E27FC236}">
                  <a16:creationId xmlns:a16="http://schemas.microsoft.com/office/drawing/2014/main" id="{355432A7-AEFA-47F1-B0A0-1345637B0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85">
              <a:extLst>
                <a:ext uri="{FF2B5EF4-FFF2-40B4-BE49-F238E27FC236}">
                  <a16:creationId xmlns:a16="http://schemas.microsoft.com/office/drawing/2014/main" id="{54DA4313-77E3-457F-8833-0662FC75B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86">
              <a:extLst>
                <a:ext uri="{FF2B5EF4-FFF2-40B4-BE49-F238E27FC236}">
                  <a16:creationId xmlns:a16="http://schemas.microsoft.com/office/drawing/2014/main" id="{614328DC-CA57-42F5-BE0C-7B5D3BB29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6EC70ED2-58A2-4F0D-AB74-2621F9D02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A6DF8AC2-542F-4D2D-8215-43A775290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89">
              <a:extLst>
                <a:ext uri="{FF2B5EF4-FFF2-40B4-BE49-F238E27FC236}">
                  <a16:creationId xmlns:a16="http://schemas.microsoft.com/office/drawing/2014/main" id="{CC3503D2-7FCA-415E-8388-238A74A3A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01381D6B-0A38-4E06-8506-A342F6A017DB}"/>
              </a:ext>
            </a:extLst>
          </p:cNvPr>
          <p:cNvSpPr txBox="1">
            <a:spLocks/>
          </p:cNvSpPr>
          <p:nvPr/>
        </p:nvSpPr>
        <p:spPr>
          <a:xfrm>
            <a:off x="1104477" y="3400111"/>
            <a:ext cx="4303725" cy="10055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b="0" dirty="0">
                <a:latin typeface="Segoe UI" panose="020B0502040204020203" pitchFamily="34" charset="0"/>
                <a:cs typeface="Segoe UI" panose="020B0502040204020203" pitchFamily="34" charset="0"/>
              </a:rPr>
              <a:t>Deployment Options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Template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User Interface</a:t>
            </a:r>
          </a:p>
        </p:txBody>
      </p:sp>
      <p:pic>
        <p:nvPicPr>
          <p:cNvPr id="6" name="Picture 5" descr="A logo with a rocket in the middle&#10;&#10;Description automatically generated">
            <a:extLst>
              <a:ext uri="{FF2B5EF4-FFF2-40B4-BE49-F238E27FC236}">
                <a16:creationId xmlns:a16="http://schemas.microsoft.com/office/drawing/2014/main" id="{9369FFAB-2683-35E8-61F5-DA2E3FC9CF1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8754" y="5712409"/>
            <a:ext cx="2037046" cy="91601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203753DF-B9CD-6766-A941-CC078E8576E8}"/>
              </a:ext>
            </a:extLst>
          </p:cNvPr>
          <p:cNvSpPr txBox="1">
            <a:spLocks/>
          </p:cNvSpPr>
          <p:nvPr/>
        </p:nvSpPr>
        <p:spPr>
          <a:xfrm>
            <a:off x="1104477" y="5151913"/>
            <a:ext cx="4303725" cy="4120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Let’s look at the options…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90607832-4B84-32D5-692D-6AE7BD412C1A}"/>
              </a:ext>
            </a:extLst>
          </p:cNvPr>
          <p:cNvGrpSpPr/>
          <p:nvPr/>
        </p:nvGrpSpPr>
        <p:grpSpPr>
          <a:xfrm>
            <a:off x="8137909" y="2084596"/>
            <a:ext cx="2949614" cy="2688808"/>
            <a:chOff x="8168249" y="2156853"/>
            <a:chExt cx="2432218" cy="2007293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9B4A43A2-CB6C-FA35-C5F9-32E2E1610A71}"/>
                </a:ext>
              </a:extLst>
            </p:cNvPr>
            <p:cNvGrpSpPr/>
            <p:nvPr/>
          </p:nvGrpSpPr>
          <p:grpSpPr>
            <a:xfrm>
              <a:off x="8168249" y="2968898"/>
              <a:ext cx="1883659" cy="1195248"/>
              <a:chOff x="6430073" y="5015052"/>
              <a:chExt cx="1883659" cy="1195248"/>
            </a:xfrm>
          </p:grpSpPr>
          <p:grpSp>
            <p:nvGrpSpPr>
              <p:cNvPr id="5" name="Group 5">
                <a:extLst>
                  <a:ext uri="{FF2B5EF4-FFF2-40B4-BE49-F238E27FC236}">
                    <a16:creationId xmlns:a16="http://schemas.microsoft.com/office/drawing/2014/main" id="{1781A014-B959-13E0-699E-C0BB54C08E22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7169213" y="5015052"/>
                <a:ext cx="1144519" cy="959028"/>
                <a:chOff x="3550" y="1917"/>
                <a:chExt cx="580" cy="486"/>
              </a:xfrm>
            </p:grpSpPr>
            <p:sp>
              <p:nvSpPr>
                <p:cNvPr id="42" name="Freeform 6">
                  <a:extLst>
                    <a:ext uri="{FF2B5EF4-FFF2-40B4-BE49-F238E27FC236}">
                      <a16:creationId xmlns:a16="http://schemas.microsoft.com/office/drawing/2014/main" id="{C0E0E3F1-A724-2A0D-9F6D-4BF495D2EB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2045"/>
                  <a:ext cx="198" cy="358"/>
                </a:xfrm>
                <a:custGeom>
                  <a:avLst/>
                  <a:gdLst>
                    <a:gd name="T0" fmla="*/ 0 w 198"/>
                    <a:gd name="T1" fmla="*/ 242 h 358"/>
                    <a:gd name="T2" fmla="*/ 198 w 198"/>
                    <a:gd name="T3" fmla="*/ 358 h 358"/>
                    <a:gd name="T4" fmla="*/ 198 w 198"/>
                    <a:gd name="T5" fmla="*/ 115 h 358"/>
                    <a:gd name="T6" fmla="*/ 0 w 198"/>
                    <a:gd name="T7" fmla="*/ 0 h 358"/>
                    <a:gd name="T8" fmla="*/ 0 w 198"/>
                    <a:gd name="T9" fmla="*/ 242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8" h="358">
                      <a:moveTo>
                        <a:pt x="0" y="242"/>
                      </a:moveTo>
                      <a:lnTo>
                        <a:pt x="198" y="358"/>
                      </a:lnTo>
                      <a:lnTo>
                        <a:pt x="198" y="115"/>
                      </a:lnTo>
                      <a:lnTo>
                        <a:pt x="0" y="0"/>
                      </a:lnTo>
                      <a:lnTo>
                        <a:pt x="0" y="242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3" name="Freeform 7">
                  <a:extLst>
                    <a:ext uri="{FF2B5EF4-FFF2-40B4-BE49-F238E27FC236}">
                      <a16:creationId xmlns:a16="http://schemas.microsoft.com/office/drawing/2014/main" id="{49975CB1-6C4C-3EF0-0015-6C0949581A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8" y="2037"/>
                  <a:ext cx="382" cy="366"/>
                </a:xfrm>
                <a:custGeom>
                  <a:avLst/>
                  <a:gdLst>
                    <a:gd name="T0" fmla="*/ 0 w 382"/>
                    <a:gd name="T1" fmla="*/ 366 h 366"/>
                    <a:gd name="T2" fmla="*/ 382 w 382"/>
                    <a:gd name="T3" fmla="*/ 245 h 366"/>
                    <a:gd name="T4" fmla="*/ 382 w 382"/>
                    <a:gd name="T5" fmla="*/ 0 h 366"/>
                    <a:gd name="T6" fmla="*/ 0 w 382"/>
                    <a:gd name="T7" fmla="*/ 123 h 366"/>
                    <a:gd name="T8" fmla="*/ 0 w 382"/>
                    <a:gd name="T9" fmla="*/ 366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2" h="366">
                      <a:moveTo>
                        <a:pt x="0" y="366"/>
                      </a:moveTo>
                      <a:lnTo>
                        <a:pt x="382" y="245"/>
                      </a:lnTo>
                      <a:lnTo>
                        <a:pt x="382" y="0"/>
                      </a:lnTo>
                      <a:lnTo>
                        <a:pt x="0" y="123"/>
                      </a:lnTo>
                      <a:lnTo>
                        <a:pt x="0" y="366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4" name="Freeform 8">
                  <a:extLst>
                    <a:ext uri="{FF2B5EF4-FFF2-40B4-BE49-F238E27FC236}">
                      <a16:creationId xmlns:a16="http://schemas.microsoft.com/office/drawing/2014/main" id="{D542734E-49A3-2FAE-8AFC-99136DB700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1922"/>
                  <a:ext cx="580" cy="238"/>
                </a:xfrm>
                <a:custGeom>
                  <a:avLst/>
                  <a:gdLst>
                    <a:gd name="T0" fmla="*/ 198 w 580"/>
                    <a:gd name="T1" fmla="*/ 238 h 238"/>
                    <a:gd name="T2" fmla="*/ 580 w 580"/>
                    <a:gd name="T3" fmla="*/ 115 h 238"/>
                    <a:gd name="T4" fmla="*/ 383 w 580"/>
                    <a:gd name="T5" fmla="*/ 0 h 238"/>
                    <a:gd name="T6" fmla="*/ 0 w 580"/>
                    <a:gd name="T7" fmla="*/ 123 h 238"/>
                    <a:gd name="T8" fmla="*/ 198 w 580"/>
                    <a:gd name="T9" fmla="*/ 238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0" h="238">
                      <a:moveTo>
                        <a:pt x="198" y="238"/>
                      </a:moveTo>
                      <a:lnTo>
                        <a:pt x="580" y="115"/>
                      </a:lnTo>
                      <a:lnTo>
                        <a:pt x="383" y="0"/>
                      </a:lnTo>
                      <a:lnTo>
                        <a:pt x="0" y="123"/>
                      </a:lnTo>
                      <a:lnTo>
                        <a:pt x="198" y="238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" name="Rectangle 9">
                  <a:extLst>
                    <a:ext uri="{FF2B5EF4-FFF2-40B4-BE49-F238E27FC236}">
                      <a16:creationId xmlns:a16="http://schemas.microsoft.com/office/drawing/2014/main" id="{E4142DDC-7D30-8FA5-D8B6-DE23DFA59D3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04"/>
                  <a:ext cx="110" cy="33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" name="Oval 10">
                  <a:extLst>
                    <a:ext uri="{FF2B5EF4-FFF2-40B4-BE49-F238E27FC236}">
                      <a16:creationId xmlns:a16="http://schemas.microsoft.com/office/drawing/2014/main" id="{EAF11130-CE52-2E8B-6433-B15C60F6D54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13"/>
                  <a:ext cx="110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1" name="Oval 11">
                  <a:extLst>
                    <a:ext uri="{FF2B5EF4-FFF2-40B4-BE49-F238E27FC236}">
                      <a16:creationId xmlns:a16="http://schemas.microsoft.com/office/drawing/2014/main" id="{6A90B05D-0528-2F6B-D302-D2FF98E6BF2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1980"/>
                  <a:ext cx="110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2" name="Rectangle 12">
                  <a:extLst>
                    <a:ext uri="{FF2B5EF4-FFF2-40B4-BE49-F238E27FC236}">
                      <a16:creationId xmlns:a16="http://schemas.microsoft.com/office/drawing/2014/main" id="{E825089F-34C3-F123-58F6-DDB798DD8D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4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4" name="Oval 13">
                  <a:extLst>
                    <a:ext uri="{FF2B5EF4-FFF2-40B4-BE49-F238E27FC236}">
                      <a16:creationId xmlns:a16="http://schemas.microsoft.com/office/drawing/2014/main" id="{B23F46BC-6B86-D0ED-F56F-F181C97140E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5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5" name="Oval 14">
                  <a:extLst>
                    <a:ext uri="{FF2B5EF4-FFF2-40B4-BE49-F238E27FC236}">
                      <a16:creationId xmlns:a16="http://schemas.microsoft.com/office/drawing/2014/main" id="{00EB02FA-B9C5-2A27-8895-919DA3E6925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17"/>
                  <a:ext cx="113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6" name="Rectangle 15">
                  <a:extLst>
                    <a:ext uri="{FF2B5EF4-FFF2-40B4-BE49-F238E27FC236}">
                      <a16:creationId xmlns:a16="http://schemas.microsoft.com/office/drawing/2014/main" id="{3DCA9230-A55C-AC87-873E-A2212159A23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7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7" name="Oval 16">
                  <a:extLst>
                    <a:ext uri="{FF2B5EF4-FFF2-40B4-BE49-F238E27FC236}">
                      <a16:creationId xmlns:a16="http://schemas.microsoft.com/office/drawing/2014/main" id="{1AB64E81-FC96-EB97-4CD4-2D28CA5E21F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8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8" name="Oval 17">
                  <a:extLst>
                    <a:ext uri="{FF2B5EF4-FFF2-40B4-BE49-F238E27FC236}">
                      <a16:creationId xmlns:a16="http://schemas.microsoft.com/office/drawing/2014/main" id="{239F620A-5F73-D7E7-3603-F607509FC1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47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0" name="Rectangle 18">
                  <a:extLst>
                    <a:ext uri="{FF2B5EF4-FFF2-40B4-BE49-F238E27FC236}">
                      <a16:creationId xmlns:a16="http://schemas.microsoft.com/office/drawing/2014/main" id="{3913D318-7088-8049-D83C-755FFC9B6A3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13"/>
                  <a:ext cx="111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4" name="Oval 19">
                  <a:extLst>
                    <a:ext uri="{FF2B5EF4-FFF2-40B4-BE49-F238E27FC236}">
                      <a16:creationId xmlns:a16="http://schemas.microsoft.com/office/drawing/2014/main" id="{ECE458BD-EA47-D0EC-5002-16F5D44C501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21"/>
                  <a:ext cx="111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5" name="Oval 20">
                  <a:extLst>
                    <a:ext uri="{FF2B5EF4-FFF2-40B4-BE49-F238E27FC236}">
                      <a16:creationId xmlns:a16="http://schemas.microsoft.com/office/drawing/2014/main" id="{920B1FBC-AA52-1A72-B7B1-E0318EC19C6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1989"/>
                  <a:ext cx="111" cy="48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8" name="Group 5">
                <a:extLst>
                  <a:ext uri="{FF2B5EF4-FFF2-40B4-BE49-F238E27FC236}">
                    <a16:creationId xmlns:a16="http://schemas.microsoft.com/office/drawing/2014/main" id="{B0E4F883-8759-0DC8-4F5E-9E7A2A3C1927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6430073" y="5251272"/>
                <a:ext cx="1144519" cy="959028"/>
                <a:chOff x="3550" y="1917"/>
                <a:chExt cx="580" cy="486"/>
              </a:xfrm>
            </p:grpSpPr>
            <p:sp>
              <p:nvSpPr>
                <p:cNvPr id="10" name="Freeform 6">
                  <a:extLst>
                    <a:ext uri="{FF2B5EF4-FFF2-40B4-BE49-F238E27FC236}">
                      <a16:creationId xmlns:a16="http://schemas.microsoft.com/office/drawing/2014/main" id="{9B0C2225-89A1-3942-7063-C4FB1CC7D5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2045"/>
                  <a:ext cx="198" cy="358"/>
                </a:xfrm>
                <a:custGeom>
                  <a:avLst/>
                  <a:gdLst>
                    <a:gd name="T0" fmla="*/ 0 w 198"/>
                    <a:gd name="T1" fmla="*/ 242 h 358"/>
                    <a:gd name="T2" fmla="*/ 198 w 198"/>
                    <a:gd name="T3" fmla="*/ 358 h 358"/>
                    <a:gd name="T4" fmla="*/ 198 w 198"/>
                    <a:gd name="T5" fmla="*/ 115 h 358"/>
                    <a:gd name="T6" fmla="*/ 0 w 198"/>
                    <a:gd name="T7" fmla="*/ 0 h 358"/>
                    <a:gd name="T8" fmla="*/ 0 w 198"/>
                    <a:gd name="T9" fmla="*/ 242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8" h="358">
                      <a:moveTo>
                        <a:pt x="0" y="242"/>
                      </a:moveTo>
                      <a:lnTo>
                        <a:pt x="198" y="358"/>
                      </a:lnTo>
                      <a:lnTo>
                        <a:pt x="198" y="115"/>
                      </a:lnTo>
                      <a:lnTo>
                        <a:pt x="0" y="0"/>
                      </a:lnTo>
                      <a:lnTo>
                        <a:pt x="0" y="242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" name="Freeform 7">
                  <a:extLst>
                    <a:ext uri="{FF2B5EF4-FFF2-40B4-BE49-F238E27FC236}">
                      <a16:creationId xmlns:a16="http://schemas.microsoft.com/office/drawing/2014/main" id="{B33BECDC-C83E-9D06-0591-4D47DE44D2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8" y="2037"/>
                  <a:ext cx="382" cy="366"/>
                </a:xfrm>
                <a:custGeom>
                  <a:avLst/>
                  <a:gdLst>
                    <a:gd name="T0" fmla="*/ 0 w 382"/>
                    <a:gd name="T1" fmla="*/ 366 h 366"/>
                    <a:gd name="T2" fmla="*/ 382 w 382"/>
                    <a:gd name="T3" fmla="*/ 245 h 366"/>
                    <a:gd name="T4" fmla="*/ 382 w 382"/>
                    <a:gd name="T5" fmla="*/ 0 h 366"/>
                    <a:gd name="T6" fmla="*/ 0 w 382"/>
                    <a:gd name="T7" fmla="*/ 123 h 366"/>
                    <a:gd name="T8" fmla="*/ 0 w 382"/>
                    <a:gd name="T9" fmla="*/ 366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2" h="366">
                      <a:moveTo>
                        <a:pt x="0" y="366"/>
                      </a:moveTo>
                      <a:lnTo>
                        <a:pt x="382" y="245"/>
                      </a:lnTo>
                      <a:lnTo>
                        <a:pt x="382" y="0"/>
                      </a:lnTo>
                      <a:lnTo>
                        <a:pt x="0" y="123"/>
                      </a:lnTo>
                      <a:lnTo>
                        <a:pt x="0" y="366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" name="Freeform 8">
                  <a:extLst>
                    <a:ext uri="{FF2B5EF4-FFF2-40B4-BE49-F238E27FC236}">
                      <a16:creationId xmlns:a16="http://schemas.microsoft.com/office/drawing/2014/main" id="{3D427BED-1B37-6503-66FB-1CD1ECAD8F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1922"/>
                  <a:ext cx="580" cy="238"/>
                </a:xfrm>
                <a:custGeom>
                  <a:avLst/>
                  <a:gdLst>
                    <a:gd name="T0" fmla="*/ 198 w 580"/>
                    <a:gd name="T1" fmla="*/ 238 h 238"/>
                    <a:gd name="T2" fmla="*/ 580 w 580"/>
                    <a:gd name="T3" fmla="*/ 115 h 238"/>
                    <a:gd name="T4" fmla="*/ 383 w 580"/>
                    <a:gd name="T5" fmla="*/ 0 h 238"/>
                    <a:gd name="T6" fmla="*/ 0 w 580"/>
                    <a:gd name="T7" fmla="*/ 123 h 238"/>
                    <a:gd name="T8" fmla="*/ 198 w 580"/>
                    <a:gd name="T9" fmla="*/ 238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0" h="238">
                      <a:moveTo>
                        <a:pt x="198" y="238"/>
                      </a:moveTo>
                      <a:lnTo>
                        <a:pt x="580" y="115"/>
                      </a:lnTo>
                      <a:lnTo>
                        <a:pt x="383" y="0"/>
                      </a:lnTo>
                      <a:lnTo>
                        <a:pt x="0" y="123"/>
                      </a:lnTo>
                      <a:lnTo>
                        <a:pt x="198" y="238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" name="Rectangle 9">
                  <a:extLst>
                    <a:ext uri="{FF2B5EF4-FFF2-40B4-BE49-F238E27FC236}">
                      <a16:creationId xmlns:a16="http://schemas.microsoft.com/office/drawing/2014/main" id="{759BAD90-0AEC-2EB4-8211-445E791B881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04"/>
                  <a:ext cx="110" cy="33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" name="Oval 10">
                  <a:extLst>
                    <a:ext uri="{FF2B5EF4-FFF2-40B4-BE49-F238E27FC236}">
                      <a16:creationId xmlns:a16="http://schemas.microsoft.com/office/drawing/2014/main" id="{1182C66C-412A-5187-0886-C3490AE4F28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13"/>
                  <a:ext cx="110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" name="Oval 11">
                  <a:extLst>
                    <a:ext uri="{FF2B5EF4-FFF2-40B4-BE49-F238E27FC236}">
                      <a16:creationId xmlns:a16="http://schemas.microsoft.com/office/drawing/2014/main" id="{5698948A-D63C-2BAC-833A-526065E0489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1980"/>
                  <a:ext cx="110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" name="Rectangle 12">
                  <a:extLst>
                    <a:ext uri="{FF2B5EF4-FFF2-40B4-BE49-F238E27FC236}">
                      <a16:creationId xmlns:a16="http://schemas.microsoft.com/office/drawing/2014/main" id="{6FC605CF-929B-7ED9-E0DA-134CA488D3C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4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" name="Oval 13">
                  <a:extLst>
                    <a:ext uri="{FF2B5EF4-FFF2-40B4-BE49-F238E27FC236}">
                      <a16:creationId xmlns:a16="http://schemas.microsoft.com/office/drawing/2014/main" id="{7E325A94-5D43-BE82-569E-441987A0680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5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" name="Oval 14">
                  <a:extLst>
                    <a:ext uri="{FF2B5EF4-FFF2-40B4-BE49-F238E27FC236}">
                      <a16:creationId xmlns:a16="http://schemas.microsoft.com/office/drawing/2014/main" id="{1007F724-260B-C862-712E-49A0F257650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17"/>
                  <a:ext cx="113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" name="Rectangle 15">
                  <a:extLst>
                    <a:ext uri="{FF2B5EF4-FFF2-40B4-BE49-F238E27FC236}">
                      <a16:creationId xmlns:a16="http://schemas.microsoft.com/office/drawing/2014/main" id="{4C74892A-B592-1ADD-A885-BDFB95589A0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7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" name="Oval 16">
                  <a:extLst>
                    <a:ext uri="{FF2B5EF4-FFF2-40B4-BE49-F238E27FC236}">
                      <a16:creationId xmlns:a16="http://schemas.microsoft.com/office/drawing/2014/main" id="{0BFE9FC9-D57C-351B-C303-62B8DE7B30A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8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" name="Oval 17">
                  <a:extLst>
                    <a:ext uri="{FF2B5EF4-FFF2-40B4-BE49-F238E27FC236}">
                      <a16:creationId xmlns:a16="http://schemas.microsoft.com/office/drawing/2014/main" id="{C56E306B-BD63-FC20-049E-C9F554F7573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47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" name="Rectangle 18">
                  <a:extLst>
                    <a:ext uri="{FF2B5EF4-FFF2-40B4-BE49-F238E27FC236}">
                      <a16:creationId xmlns:a16="http://schemas.microsoft.com/office/drawing/2014/main" id="{E76460C6-ADCF-F32E-0397-3065E252BE2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13"/>
                  <a:ext cx="111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" name="Oval 19">
                  <a:extLst>
                    <a:ext uri="{FF2B5EF4-FFF2-40B4-BE49-F238E27FC236}">
                      <a16:creationId xmlns:a16="http://schemas.microsoft.com/office/drawing/2014/main" id="{A3D78622-6BE1-5761-480B-75B2C142463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21"/>
                  <a:ext cx="111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" name="Oval 20">
                  <a:extLst>
                    <a:ext uri="{FF2B5EF4-FFF2-40B4-BE49-F238E27FC236}">
                      <a16:creationId xmlns:a16="http://schemas.microsoft.com/office/drawing/2014/main" id="{3D4B7E35-9741-7678-0E61-48CD7306587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1989"/>
                  <a:ext cx="111" cy="48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F0B97F7F-40F1-ACE2-A21B-BB1E8DC4EE31}"/>
                </a:ext>
              </a:extLst>
            </p:cNvPr>
            <p:cNvGrpSpPr/>
            <p:nvPr/>
          </p:nvGrpSpPr>
          <p:grpSpPr>
            <a:xfrm>
              <a:off x="8716808" y="2156853"/>
              <a:ext cx="1883659" cy="1195248"/>
              <a:chOff x="6430073" y="5015052"/>
              <a:chExt cx="1883659" cy="1195248"/>
            </a:xfrm>
          </p:grpSpPr>
          <p:grpSp>
            <p:nvGrpSpPr>
              <p:cNvPr id="67" name="Group 5">
                <a:extLst>
                  <a:ext uri="{FF2B5EF4-FFF2-40B4-BE49-F238E27FC236}">
                    <a16:creationId xmlns:a16="http://schemas.microsoft.com/office/drawing/2014/main" id="{C092E02E-AD67-702F-6B80-296DD9EE4991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7169213" y="5015052"/>
                <a:ext cx="1144519" cy="959028"/>
                <a:chOff x="3550" y="1917"/>
                <a:chExt cx="580" cy="486"/>
              </a:xfrm>
            </p:grpSpPr>
            <p:sp>
              <p:nvSpPr>
                <p:cNvPr id="89" name="Freeform 6">
                  <a:extLst>
                    <a:ext uri="{FF2B5EF4-FFF2-40B4-BE49-F238E27FC236}">
                      <a16:creationId xmlns:a16="http://schemas.microsoft.com/office/drawing/2014/main" id="{5EC10B6C-5399-FCAF-682C-DD7586694D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2045"/>
                  <a:ext cx="198" cy="358"/>
                </a:xfrm>
                <a:custGeom>
                  <a:avLst/>
                  <a:gdLst>
                    <a:gd name="T0" fmla="*/ 0 w 198"/>
                    <a:gd name="T1" fmla="*/ 242 h 358"/>
                    <a:gd name="T2" fmla="*/ 198 w 198"/>
                    <a:gd name="T3" fmla="*/ 358 h 358"/>
                    <a:gd name="T4" fmla="*/ 198 w 198"/>
                    <a:gd name="T5" fmla="*/ 115 h 358"/>
                    <a:gd name="T6" fmla="*/ 0 w 198"/>
                    <a:gd name="T7" fmla="*/ 0 h 358"/>
                    <a:gd name="T8" fmla="*/ 0 w 198"/>
                    <a:gd name="T9" fmla="*/ 242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8" h="358">
                      <a:moveTo>
                        <a:pt x="0" y="242"/>
                      </a:moveTo>
                      <a:lnTo>
                        <a:pt x="198" y="358"/>
                      </a:lnTo>
                      <a:lnTo>
                        <a:pt x="198" y="115"/>
                      </a:lnTo>
                      <a:lnTo>
                        <a:pt x="0" y="0"/>
                      </a:lnTo>
                      <a:lnTo>
                        <a:pt x="0" y="242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0" name="Freeform 7">
                  <a:extLst>
                    <a:ext uri="{FF2B5EF4-FFF2-40B4-BE49-F238E27FC236}">
                      <a16:creationId xmlns:a16="http://schemas.microsoft.com/office/drawing/2014/main" id="{D6167F22-5E99-DD6F-180B-CE43DAC268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8" y="2037"/>
                  <a:ext cx="382" cy="366"/>
                </a:xfrm>
                <a:custGeom>
                  <a:avLst/>
                  <a:gdLst>
                    <a:gd name="T0" fmla="*/ 0 w 382"/>
                    <a:gd name="T1" fmla="*/ 366 h 366"/>
                    <a:gd name="T2" fmla="*/ 382 w 382"/>
                    <a:gd name="T3" fmla="*/ 245 h 366"/>
                    <a:gd name="T4" fmla="*/ 382 w 382"/>
                    <a:gd name="T5" fmla="*/ 0 h 366"/>
                    <a:gd name="T6" fmla="*/ 0 w 382"/>
                    <a:gd name="T7" fmla="*/ 123 h 366"/>
                    <a:gd name="T8" fmla="*/ 0 w 382"/>
                    <a:gd name="T9" fmla="*/ 366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2" h="366">
                      <a:moveTo>
                        <a:pt x="0" y="366"/>
                      </a:moveTo>
                      <a:lnTo>
                        <a:pt x="382" y="245"/>
                      </a:lnTo>
                      <a:lnTo>
                        <a:pt x="382" y="0"/>
                      </a:lnTo>
                      <a:lnTo>
                        <a:pt x="0" y="123"/>
                      </a:lnTo>
                      <a:lnTo>
                        <a:pt x="0" y="366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1" name="Freeform 8">
                  <a:extLst>
                    <a:ext uri="{FF2B5EF4-FFF2-40B4-BE49-F238E27FC236}">
                      <a16:creationId xmlns:a16="http://schemas.microsoft.com/office/drawing/2014/main" id="{B13134A4-34BA-ED55-91FE-04E7937985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1922"/>
                  <a:ext cx="580" cy="238"/>
                </a:xfrm>
                <a:custGeom>
                  <a:avLst/>
                  <a:gdLst>
                    <a:gd name="T0" fmla="*/ 198 w 580"/>
                    <a:gd name="T1" fmla="*/ 238 h 238"/>
                    <a:gd name="T2" fmla="*/ 580 w 580"/>
                    <a:gd name="T3" fmla="*/ 115 h 238"/>
                    <a:gd name="T4" fmla="*/ 383 w 580"/>
                    <a:gd name="T5" fmla="*/ 0 h 238"/>
                    <a:gd name="T6" fmla="*/ 0 w 580"/>
                    <a:gd name="T7" fmla="*/ 123 h 238"/>
                    <a:gd name="T8" fmla="*/ 198 w 580"/>
                    <a:gd name="T9" fmla="*/ 238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0" h="238">
                      <a:moveTo>
                        <a:pt x="198" y="238"/>
                      </a:moveTo>
                      <a:lnTo>
                        <a:pt x="580" y="115"/>
                      </a:lnTo>
                      <a:lnTo>
                        <a:pt x="383" y="0"/>
                      </a:lnTo>
                      <a:lnTo>
                        <a:pt x="0" y="123"/>
                      </a:lnTo>
                      <a:lnTo>
                        <a:pt x="198" y="238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2" name="Rectangle 9">
                  <a:extLst>
                    <a:ext uri="{FF2B5EF4-FFF2-40B4-BE49-F238E27FC236}">
                      <a16:creationId xmlns:a16="http://schemas.microsoft.com/office/drawing/2014/main" id="{C07F2A62-5C1F-A9A8-D2F5-07E222AD59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04"/>
                  <a:ext cx="110" cy="33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3" name="Oval 10">
                  <a:extLst>
                    <a:ext uri="{FF2B5EF4-FFF2-40B4-BE49-F238E27FC236}">
                      <a16:creationId xmlns:a16="http://schemas.microsoft.com/office/drawing/2014/main" id="{ED884486-A0AA-CB16-AA25-1A1C239EA25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13"/>
                  <a:ext cx="110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4" name="Oval 11">
                  <a:extLst>
                    <a:ext uri="{FF2B5EF4-FFF2-40B4-BE49-F238E27FC236}">
                      <a16:creationId xmlns:a16="http://schemas.microsoft.com/office/drawing/2014/main" id="{503C717E-AD5B-AA0E-95DC-99A8972B180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1980"/>
                  <a:ext cx="110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5" name="Rectangle 12">
                  <a:extLst>
                    <a:ext uri="{FF2B5EF4-FFF2-40B4-BE49-F238E27FC236}">
                      <a16:creationId xmlns:a16="http://schemas.microsoft.com/office/drawing/2014/main" id="{BA949D84-860D-ACDD-CE6E-2C7E7AFCC4E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4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6" name="Oval 13">
                  <a:extLst>
                    <a:ext uri="{FF2B5EF4-FFF2-40B4-BE49-F238E27FC236}">
                      <a16:creationId xmlns:a16="http://schemas.microsoft.com/office/drawing/2014/main" id="{A6ED1CD1-B0BF-780B-CAB4-CFC6FDF4F2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5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7" name="Oval 14">
                  <a:extLst>
                    <a:ext uri="{FF2B5EF4-FFF2-40B4-BE49-F238E27FC236}">
                      <a16:creationId xmlns:a16="http://schemas.microsoft.com/office/drawing/2014/main" id="{B8618363-568A-63AB-A554-F231BB03A46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17"/>
                  <a:ext cx="113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8" name="Rectangle 15">
                  <a:extLst>
                    <a:ext uri="{FF2B5EF4-FFF2-40B4-BE49-F238E27FC236}">
                      <a16:creationId xmlns:a16="http://schemas.microsoft.com/office/drawing/2014/main" id="{2E749551-46E9-B4A6-70B9-787924FE1B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7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9" name="Oval 16">
                  <a:extLst>
                    <a:ext uri="{FF2B5EF4-FFF2-40B4-BE49-F238E27FC236}">
                      <a16:creationId xmlns:a16="http://schemas.microsoft.com/office/drawing/2014/main" id="{2C407AB5-EC5E-CDAE-5EC2-0DE8176D662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8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0" name="Oval 17">
                  <a:extLst>
                    <a:ext uri="{FF2B5EF4-FFF2-40B4-BE49-F238E27FC236}">
                      <a16:creationId xmlns:a16="http://schemas.microsoft.com/office/drawing/2014/main" id="{C73B4997-53E8-8915-A02D-628AFDC00C0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47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1" name="Rectangle 18">
                  <a:extLst>
                    <a:ext uri="{FF2B5EF4-FFF2-40B4-BE49-F238E27FC236}">
                      <a16:creationId xmlns:a16="http://schemas.microsoft.com/office/drawing/2014/main" id="{013750E3-D584-9089-62B9-7A3A50D6FB9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13"/>
                  <a:ext cx="111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2" name="Oval 19">
                  <a:extLst>
                    <a:ext uri="{FF2B5EF4-FFF2-40B4-BE49-F238E27FC236}">
                      <a16:creationId xmlns:a16="http://schemas.microsoft.com/office/drawing/2014/main" id="{7509D462-AE38-590F-D3C5-70A8D76B99F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21"/>
                  <a:ext cx="111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3" name="Oval 20">
                  <a:extLst>
                    <a:ext uri="{FF2B5EF4-FFF2-40B4-BE49-F238E27FC236}">
                      <a16:creationId xmlns:a16="http://schemas.microsoft.com/office/drawing/2014/main" id="{08F320B5-3DBD-BB30-2C1B-E4BA51DF8E9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1989"/>
                  <a:ext cx="111" cy="48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68" name="Group 5">
                <a:extLst>
                  <a:ext uri="{FF2B5EF4-FFF2-40B4-BE49-F238E27FC236}">
                    <a16:creationId xmlns:a16="http://schemas.microsoft.com/office/drawing/2014/main" id="{60478DCF-8E4B-6A42-54F8-E02944CCAA90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6430073" y="5251272"/>
                <a:ext cx="1144519" cy="959028"/>
                <a:chOff x="3550" y="1917"/>
                <a:chExt cx="580" cy="486"/>
              </a:xfrm>
            </p:grpSpPr>
            <p:sp>
              <p:nvSpPr>
                <p:cNvPr id="69" name="Freeform 6">
                  <a:extLst>
                    <a:ext uri="{FF2B5EF4-FFF2-40B4-BE49-F238E27FC236}">
                      <a16:creationId xmlns:a16="http://schemas.microsoft.com/office/drawing/2014/main" id="{A757410D-18BF-EC61-5AA2-95550C08C7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2045"/>
                  <a:ext cx="198" cy="358"/>
                </a:xfrm>
                <a:custGeom>
                  <a:avLst/>
                  <a:gdLst>
                    <a:gd name="T0" fmla="*/ 0 w 198"/>
                    <a:gd name="T1" fmla="*/ 242 h 358"/>
                    <a:gd name="T2" fmla="*/ 198 w 198"/>
                    <a:gd name="T3" fmla="*/ 358 h 358"/>
                    <a:gd name="T4" fmla="*/ 198 w 198"/>
                    <a:gd name="T5" fmla="*/ 115 h 358"/>
                    <a:gd name="T6" fmla="*/ 0 w 198"/>
                    <a:gd name="T7" fmla="*/ 0 h 358"/>
                    <a:gd name="T8" fmla="*/ 0 w 198"/>
                    <a:gd name="T9" fmla="*/ 242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8" h="358">
                      <a:moveTo>
                        <a:pt x="0" y="242"/>
                      </a:moveTo>
                      <a:lnTo>
                        <a:pt x="198" y="358"/>
                      </a:lnTo>
                      <a:lnTo>
                        <a:pt x="198" y="115"/>
                      </a:lnTo>
                      <a:lnTo>
                        <a:pt x="0" y="0"/>
                      </a:lnTo>
                      <a:lnTo>
                        <a:pt x="0" y="242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0" name="Freeform 7">
                  <a:extLst>
                    <a:ext uri="{FF2B5EF4-FFF2-40B4-BE49-F238E27FC236}">
                      <a16:creationId xmlns:a16="http://schemas.microsoft.com/office/drawing/2014/main" id="{44FCFE9C-5488-4628-9172-DD024CA2B8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8" y="2037"/>
                  <a:ext cx="382" cy="366"/>
                </a:xfrm>
                <a:custGeom>
                  <a:avLst/>
                  <a:gdLst>
                    <a:gd name="T0" fmla="*/ 0 w 382"/>
                    <a:gd name="T1" fmla="*/ 366 h 366"/>
                    <a:gd name="T2" fmla="*/ 382 w 382"/>
                    <a:gd name="T3" fmla="*/ 245 h 366"/>
                    <a:gd name="T4" fmla="*/ 382 w 382"/>
                    <a:gd name="T5" fmla="*/ 0 h 366"/>
                    <a:gd name="T6" fmla="*/ 0 w 382"/>
                    <a:gd name="T7" fmla="*/ 123 h 366"/>
                    <a:gd name="T8" fmla="*/ 0 w 382"/>
                    <a:gd name="T9" fmla="*/ 366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2" h="366">
                      <a:moveTo>
                        <a:pt x="0" y="366"/>
                      </a:moveTo>
                      <a:lnTo>
                        <a:pt x="382" y="245"/>
                      </a:lnTo>
                      <a:lnTo>
                        <a:pt x="382" y="0"/>
                      </a:lnTo>
                      <a:lnTo>
                        <a:pt x="0" y="123"/>
                      </a:lnTo>
                      <a:lnTo>
                        <a:pt x="0" y="366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1" name="Freeform 8">
                  <a:extLst>
                    <a:ext uri="{FF2B5EF4-FFF2-40B4-BE49-F238E27FC236}">
                      <a16:creationId xmlns:a16="http://schemas.microsoft.com/office/drawing/2014/main" id="{CB2AA025-2EFB-917C-02A4-7F6984F605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1922"/>
                  <a:ext cx="580" cy="238"/>
                </a:xfrm>
                <a:custGeom>
                  <a:avLst/>
                  <a:gdLst>
                    <a:gd name="T0" fmla="*/ 198 w 580"/>
                    <a:gd name="T1" fmla="*/ 238 h 238"/>
                    <a:gd name="T2" fmla="*/ 580 w 580"/>
                    <a:gd name="T3" fmla="*/ 115 h 238"/>
                    <a:gd name="T4" fmla="*/ 383 w 580"/>
                    <a:gd name="T5" fmla="*/ 0 h 238"/>
                    <a:gd name="T6" fmla="*/ 0 w 580"/>
                    <a:gd name="T7" fmla="*/ 123 h 238"/>
                    <a:gd name="T8" fmla="*/ 198 w 580"/>
                    <a:gd name="T9" fmla="*/ 238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0" h="238">
                      <a:moveTo>
                        <a:pt x="198" y="238"/>
                      </a:moveTo>
                      <a:lnTo>
                        <a:pt x="580" y="115"/>
                      </a:lnTo>
                      <a:lnTo>
                        <a:pt x="383" y="0"/>
                      </a:lnTo>
                      <a:lnTo>
                        <a:pt x="0" y="123"/>
                      </a:lnTo>
                      <a:lnTo>
                        <a:pt x="198" y="238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2" name="Rectangle 9">
                  <a:extLst>
                    <a:ext uri="{FF2B5EF4-FFF2-40B4-BE49-F238E27FC236}">
                      <a16:creationId xmlns:a16="http://schemas.microsoft.com/office/drawing/2014/main" id="{446B356C-3AED-53F6-0442-949434C950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04"/>
                  <a:ext cx="110" cy="33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3" name="Oval 10">
                  <a:extLst>
                    <a:ext uri="{FF2B5EF4-FFF2-40B4-BE49-F238E27FC236}">
                      <a16:creationId xmlns:a16="http://schemas.microsoft.com/office/drawing/2014/main" id="{3142DB72-01D1-9315-969B-10BEEC56147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13"/>
                  <a:ext cx="110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4" name="Oval 11">
                  <a:extLst>
                    <a:ext uri="{FF2B5EF4-FFF2-40B4-BE49-F238E27FC236}">
                      <a16:creationId xmlns:a16="http://schemas.microsoft.com/office/drawing/2014/main" id="{C208AA75-17DF-4884-08E2-43C922A4281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1980"/>
                  <a:ext cx="110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5" name="Rectangle 12">
                  <a:extLst>
                    <a:ext uri="{FF2B5EF4-FFF2-40B4-BE49-F238E27FC236}">
                      <a16:creationId xmlns:a16="http://schemas.microsoft.com/office/drawing/2014/main" id="{EBB87C99-AEED-2525-7A7F-D7ED48FC480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4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6" name="Oval 13">
                  <a:extLst>
                    <a:ext uri="{FF2B5EF4-FFF2-40B4-BE49-F238E27FC236}">
                      <a16:creationId xmlns:a16="http://schemas.microsoft.com/office/drawing/2014/main" id="{51EBCDAD-F759-CFB1-2444-D94FB442C38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5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2" name="Oval 14">
                  <a:extLst>
                    <a:ext uri="{FF2B5EF4-FFF2-40B4-BE49-F238E27FC236}">
                      <a16:creationId xmlns:a16="http://schemas.microsoft.com/office/drawing/2014/main" id="{59079928-4DE9-9B5B-A774-197F89C5A6A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17"/>
                  <a:ext cx="113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3" name="Rectangle 15">
                  <a:extLst>
                    <a:ext uri="{FF2B5EF4-FFF2-40B4-BE49-F238E27FC236}">
                      <a16:creationId xmlns:a16="http://schemas.microsoft.com/office/drawing/2014/main" id="{372CEE38-B425-4861-D6CB-44E6A2761F2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7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4" name="Oval 16">
                  <a:extLst>
                    <a:ext uri="{FF2B5EF4-FFF2-40B4-BE49-F238E27FC236}">
                      <a16:creationId xmlns:a16="http://schemas.microsoft.com/office/drawing/2014/main" id="{4FE4962B-35CC-B22A-64D3-71B81B57B72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8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5" name="Oval 17">
                  <a:extLst>
                    <a:ext uri="{FF2B5EF4-FFF2-40B4-BE49-F238E27FC236}">
                      <a16:creationId xmlns:a16="http://schemas.microsoft.com/office/drawing/2014/main" id="{611A1CA5-7C4E-F05A-9030-0D9A88D9F3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47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6" name="Rectangle 18">
                  <a:extLst>
                    <a:ext uri="{FF2B5EF4-FFF2-40B4-BE49-F238E27FC236}">
                      <a16:creationId xmlns:a16="http://schemas.microsoft.com/office/drawing/2014/main" id="{28D56F2D-69C7-8EC9-3D05-CF9932AAAC8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13"/>
                  <a:ext cx="111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7" name="Oval 19">
                  <a:extLst>
                    <a:ext uri="{FF2B5EF4-FFF2-40B4-BE49-F238E27FC236}">
                      <a16:creationId xmlns:a16="http://schemas.microsoft.com/office/drawing/2014/main" id="{B7B0BA18-8645-310F-93BF-857932DCCB4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21"/>
                  <a:ext cx="111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8" name="Oval 20">
                  <a:extLst>
                    <a:ext uri="{FF2B5EF4-FFF2-40B4-BE49-F238E27FC236}">
                      <a16:creationId xmlns:a16="http://schemas.microsoft.com/office/drawing/2014/main" id="{6C07D9F3-008D-6DE7-7F20-B7F57025E52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1989"/>
                  <a:ext cx="111" cy="48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59758326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L1 - Bicep Modu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Idempotency-er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4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14384" y="2841878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7925" y="2526460"/>
            <a:ext cx="1963754" cy="196375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9C09223-D36A-E074-1AA6-0CB54D96C302}"/>
              </a:ext>
            </a:extLst>
          </p:cNvPr>
          <p:cNvSpPr txBox="1"/>
          <p:nvPr/>
        </p:nvSpPr>
        <p:spPr>
          <a:xfrm>
            <a:off x="861162" y="4896951"/>
            <a:ext cx="1236877" cy="369332"/>
          </a:xfrm>
          <a:custGeom>
            <a:avLst/>
            <a:gdLst>
              <a:gd name="connsiteX0" fmla="*/ 0 w 1236877"/>
              <a:gd name="connsiteY0" fmla="*/ 0 h 369332"/>
              <a:gd name="connsiteX1" fmla="*/ 399924 w 1236877"/>
              <a:gd name="connsiteY1" fmla="*/ 0 h 369332"/>
              <a:gd name="connsiteX2" fmla="*/ 775110 w 1236877"/>
              <a:gd name="connsiteY2" fmla="*/ 0 h 369332"/>
              <a:gd name="connsiteX3" fmla="*/ 1236877 w 1236877"/>
              <a:gd name="connsiteY3" fmla="*/ 0 h 369332"/>
              <a:gd name="connsiteX4" fmla="*/ 1236877 w 1236877"/>
              <a:gd name="connsiteY4" fmla="*/ 369332 h 369332"/>
              <a:gd name="connsiteX5" fmla="*/ 849322 w 1236877"/>
              <a:gd name="connsiteY5" fmla="*/ 369332 h 369332"/>
              <a:gd name="connsiteX6" fmla="*/ 412292 w 1236877"/>
              <a:gd name="connsiteY6" fmla="*/ 369332 h 369332"/>
              <a:gd name="connsiteX7" fmla="*/ 0 w 1236877"/>
              <a:gd name="connsiteY7" fmla="*/ 369332 h 369332"/>
              <a:gd name="connsiteX8" fmla="*/ 0 w 1236877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6877" h="369332" extrusionOk="0">
                <a:moveTo>
                  <a:pt x="0" y="0"/>
                </a:moveTo>
                <a:cubicBezTo>
                  <a:pt x="175328" y="-17771"/>
                  <a:pt x="280012" y="20305"/>
                  <a:pt x="399924" y="0"/>
                </a:cubicBezTo>
                <a:cubicBezTo>
                  <a:pt x="519836" y="-20305"/>
                  <a:pt x="673338" y="9360"/>
                  <a:pt x="775110" y="0"/>
                </a:cubicBezTo>
                <a:cubicBezTo>
                  <a:pt x="876882" y="-9360"/>
                  <a:pt x="1091270" y="30966"/>
                  <a:pt x="1236877" y="0"/>
                </a:cubicBezTo>
                <a:cubicBezTo>
                  <a:pt x="1272465" y="113493"/>
                  <a:pt x="1210070" y="197069"/>
                  <a:pt x="1236877" y="369332"/>
                </a:cubicBezTo>
                <a:cubicBezTo>
                  <a:pt x="1057692" y="380605"/>
                  <a:pt x="987291" y="349777"/>
                  <a:pt x="849322" y="369332"/>
                </a:cubicBezTo>
                <a:cubicBezTo>
                  <a:pt x="711353" y="388887"/>
                  <a:pt x="537900" y="327536"/>
                  <a:pt x="412292" y="369332"/>
                </a:cubicBezTo>
                <a:cubicBezTo>
                  <a:pt x="286684" y="411128"/>
                  <a:pt x="158184" y="356080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Develop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CEC175-E2F9-A40F-65CB-92B68AEF21E7}"/>
              </a:ext>
            </a:extLst>
          </p:cNvPr>
          <p:cNvSpPr txBox="1"/>
          <p:nvPr/>
        </p:nvSpPr>
        <p:spPr>
          <a:xfrm>
            <a:off x="1508830" y="5420858"/>
            <a:ext cx="1548565" cy="369332"/>
          </a:xfrm>
          <a:custGeom>
            <a:avLst/>
            <a:gdLst>
              <a:gd name="connsiteX0" fmla="*/ 0 w 1548565"/>
              <a:gd name="connsiteY0" fmla="*/ 0 h 369332"/>
              <a:gd name="connsiteX1" fmla="*/ 500703 w 1548565"/>
              <a:gd name="connsiteY1" fmla="*/ 0 h 369332"/>
              <a:gd name="connsiteX2" fmla="*/ 970434 w 1548565"/>
              <a:gd name="connsiteY2" fmla="*/ 0 h 369332"/>
              <a:gd name="connsiteX3" fmla="*/ 1548565 w 1548565"/>
              <a:gd name="connsiteY3" fmla="*/ 0 h 369332"/>
              <a:gd name="connsiteX4" fmla="*/ 1548565 w 1548565"/>
              <a:gd name="connsiteY4" fmla="*/ 369332 h 369332"/>
              <a:gd name="connsiteX5" fmla="*/ 1063348 w 1548565"/>
              <a:gd name="connsiteY5" fmla="*/ 369332 h 369332"/>
              <a:gd name="connsiteX6" fmla="*/ 516188 w 1548565"/>
              <a:gd name="connsiteY6" fmla="*/ 369332 h 369332"/>
              <a:gd name="connsiteX7" fmla="*/ 0 w 1548565"/>
              <a:gd name="connsiteY7" fmla="*/ 369332 h 369332"/>
              <a:gd name="connsiteX8" fmla="*/ 0 w 1548565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8565" h="369332" extrusionOk="0">
                <a:moveTo>
                  <a:pt x="0" y="0"/>
                </a:moveTo>
                <a:cubicBezTo>
                  <a:pt x="188744" y="-47250"/>
                  <a:pt x="363565" y="29188"/>
                  <a:pt x="500703" y="0"/>
                </a:cubicBezTo>
                <a:cubicBezTo>
                  <a:pt x="637841" y="-29188"/>
                  <a:pt x="876338" y="27244"/>
                  <a:pt x="970434" y="0"/>
                </a:cubicBezTo>
                <a:cubicBezTo>
                  <a:pt x="1064530" y="-27244"/>
                  <a:pt x="1364252" y="59563"/>
                  <a:pt x="1548565" y="0"/>
                </a:cubicBezTo>
                <a:cubicBezTo>
                  <a:pt x="1584153" y="113493"/>
                  <a:pt x="1521758" y="197069"/>
                  <a:pt x="1548565" y="369332"/>
                </a:cubicBezTo>
                <a:cubicBezTo>
                  <a:pt x="1380486" y="378330"/>
                  <a:pt x="1230603" y="356389"/>
                  <a:pt x="1063348" y="369332"/>
                </a:cubicBezTo>
                <a:cubicBezTo>
                  <a:pt x="896093" y="382275"/>
                  <a:pt x="690595" y="357083"/>
                  <a:pt x="516188" y="369332"/>
                </a:cubicBezTo>
                <a:cubicBezTo>
                  <a:pt x="341781" y="381581"/>
                  <a:pt x="145639" y="3359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Platform Tea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635322" y="4373044"/>
            <a:ext cx="2422073" cy="369332"/>
          </a:xfrm>
          <a:custGeom>
            <a:avLst/>
            <a:gdLst>
              <a:gd name="connsiteX0" fmla="*/ 0 w 2422073"/>
              <a:gd name="connsiteY0" fmla="*/ 0 h 369332"/>
              <a:gd name="connsiteX1" fmla="*/ 460194 w 2422073"/>
              <a:gd name="connsiteY1" fmla="*/ 0 h 369332"/>
              <a:gd name="connsiteX2" fmla="*/ 871946 w 2422073"/>
              <a:gd name="connsiteY2" fmla="*/ 0 h 369332"/>
              <a:gd name="connsiteX3" fmla="*/ 1404802 w 2422073"/>
              <a:gd name="connsiteY3" fmla="*/ 0 h 369332"/>
              <a:gd name="connsiteX4" fmla="*/ 1864996 w 2422073"/>
              <a:gd name="connsiteY4" fmla="*/ 0 h 369332"/>
              <a:gd name="connsiteX5" fmla="*/ 2422073 w 2422073"/>
              <a:gd name="connsiteY5" fmla="*/ 0 h 369332"/>
              <a:gd name="connsiteX6" fmla="*/ 2422073 w 2422073"/>
              <a:gd name="connsiteY6" fmla="*/ 369332 h 369332"/>
              <a:gd name="connsiteX7" fmla="*/ 1937658 w 2422073"/>
              <a:gd name="connsiteY7" fmla="*/ 369332 h 369332"/>
              <a:gd name="connsiteX8" fmla="*/ 1404802 w 2422073"/>
              <a:gd name="connsiteY8" fmla="*/ 369332 h 369332"/>
              <a:gd name="connsiteX9" fmla="*/ 993050 w 2422073"/>
              <a:gd name="connsiteY9" fmla="*/ 369332 h 369332"/>
              <a:gd name="connsiteX10" fmla="*/ 508635 w 2422073"/>
              <a:gd name="connsiteY10" fmla="*/ 369332 h 369332"/>
              <a:gd name="connsiteX11" fmla="*/ 0 w 2422073"/>
              <a:gd name="connsiteY11" fmla="*/ 369332 h 369332"/>
              <a:gd name="connsiteX12" fmla="*/ 0 w 2422073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22073" h="369332" extrusionOk="0">
                <a:moveTo>
                  <a:pt x="0" y="0"/>
                </a:moveTo>
                <a:cubicBezTo>
                  <a:pt x="199693" y="-10251"/>
                  <a:pt x="246167" y="30869"/>
                  <a:pt x="460194" y="0"/>
                </a:cubicBezTo>
                <a:cubicBezTo>
                  <a:pt x="674221" y="-30869"/>
                  <a:pt x="708354" y="1783"/>
                  <a:pt x="871946" y="0"/>
                </a:cubicBezTo>
                <a:cubicBezTo>
                  <a:pt x="1035538" y="-1783"/>
                  <a:pt x="1215339" y="49588"/>
                  <a:pt x="1404802" y="0"/>
                </a:cubicBezTo>
                <a:cubicBezTo>
                  <a:pt x="1594265" y="-49588"/>
                  <a:pt x="1640279" y="31720"/>
                  <a:pt x="1864996" y="0"/>
                </a:cubicBezTo>
                <a:cubicBezTo>
                  <a:pt x="2089713" y="-31720"/>
                  <a:pt x="2225679" y="45722"/>
                  <a:pt x="2422073" y="0"/>
                </a:cubicBezTo>
                <a:cubicBezTo>
                  <a:pt x="2458233" y="81226"/>
                  <a:pt x="2400535" y="278722"/>
                  <a:pt x="2422073" y="369332"/>
                </a:cubicBezTo>
                <a:cubicBezTo>
                  <a:pt x="2243299" y="402811"/>
                  <a:pt x="2104963" y="338227"/>
                  <a:pt x="1937658" y="369332"/>
                </a:cubicBezTo>
                <a:cubicBezTo>
                  <a:pt x="1770354" y="400437"/>
                  <a:pt x="1620687" y="307360"/>
                  <a:pt x="1404802" y="369332"/>
                </a:cubicBezTo>
                <a:cubicBezTo>
                  <a:pt x="1188917" y="431304"/>
                  <a:pt x="1131819" y="335684"/>
                  <a:pt x="993050" y="369332"/>
                </a:cubicBezTo>
                <a:cubicBezTo>
                  <a:pt x="854281" y="402980"/>
                  <a:pt x="704761" y="348963"/>
                  <a:pt x="508635" y="369332"/>
                </a:cubicBezTo>
                <a:cubicBezTo>
                  <a:pt x="312510" y="389701"/>
                  <a:pt x="246365" y="328998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Operations/Onboarding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29254" y="4337825"/>
            <a:ext cx="1270677" cy="386034"/>
          </a:xfrm>
          <a:custGeom>
            <a:avLst/>
            <a:gdLst>
              <a:gd name="connsiteX0" fmla="*/ 0 w 1270677"/>
              <a:gd name="connsiteY0" fmla="*/ 64340 h 386034"/>
              <a:gd name="connsiteX1" fmla="*/ 64340 w 1270677"/>
              <a:gd name="connsiteY1" fmla="*/ 0 h 386034"/>
              <a:gd name="connsiteX2" fmla="*/ 658178 w 1270677"/>
              <a:gd name="connsiteY2" fmla="*/ 0 h 386034"/>
              <a:gd name="connsiteX3" fmla="*/ 1206337 w 1270677"/>
              <a:gd name="connsiteY3" fmla="*/ 0 h 386034"/>
              <a:gd name="connsiteX4" fmla="*/ 1270677 w 1270677"/>
              <a:gd name="connsiteY4" fmla="*/ 64340 h 386034"/>
              <a:gd name="connsiteX5" fmla="*/ 1270677 w 1270677"/>
              <a:gd name="connsiteY5" fmla="*/ 321694 h 386034"/>
              <a:gd name="connsiteX6" fmla="*/ 1206337 w 1270677"/>
              <a:gd name="connsiteY6" fmla="*/ 386034 h 386034"/>
              <a:gd name="connsiteX7" fmla="*/ 635339 w 1270677"/>
              <a:gd name="connsiteY7" fmla="*/ 386034 h 386034"/>
              <a:gd name="connsiteX8" fmla="*/ 64340 w 1270677"/>
              <a:gd name="connsiteY8" fmla="*/ 386034 h 386034"/>
              <a:gd name="connsiteX9" fmla="*/ 0 w 1270677"/>
              <a:gd name="connsiteY9" fmla="*/ 321694 h 386034"/>
              <a:gd name="connsiteX10" fmla="*/ 0 w 1270677"/>
              <a:gd name="connsiteY10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0677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305104" y="-12353"/>
                  <a:pt x="404359" y="-13726"/>
                  <a:pt x="658178" y="0"/>
                </a:cubicBezTo>
                <a:cubicBezTo>
                  <a:pt x="911997" y="13726"/>
                  <a:pt x="1013716" y="-11684"/>
                  <a:pt x="1206337" y="0"/>
                </a:cubicBezTo>
                <a:cubicBezTo>
                  <a:pt x="1234352" y="-4114"/>
                  <a:pt x="1274606" y="30683"/>
                  <a:pt x="1270677" y="64340"/>
                </a:cubicBezTo>
                <a:cubicBezTo>
                  <a:pt x="1276931" y="162416"/>
                  <a:pt x="1279897" y="205598"/>
                  <a:pt x="1270677" y="321694"/>
                </a:cubicBezTo>
                <a:cubicBezTo>
                  <a:pt x="1272476" y="354301"/>
                  <a:pt x="1236545" y="390714"/>
                  <a:pt x="1206337" y="386034"/>
                </a:cubicBezTo>
                <a:cubicBezTo>
                  <a:pt x="1018204" y="391331"/>
                  <a:pt x="872347" y="408582"/>
                  <a:pt x="635339" y="386034"/>
                </a:cubicBezTo>
                <a:cubicBezTo>
                  <a:pt x="398331" y="363486"/>
                  <a:pt x="230275" y="367458"/>
                  <a:pt x="64340" y="386034"/>
                </a:cubicBezTo>
                <a:cubicBezTo>
                  <a:pt x="21150" y="385596"/>
                  <a:pt x="2276" y="350987"/>
                  <a:pt x="0" y="321694"/>
                </a:cubicBezTo>
                <a:cubicBezTo>
                  <a:pt x="3363" y="261429"/>
                  <a:pt x="10077" y="168251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8098358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2FC9430-89FA-B6F5-FF73-09BF4CD95552}"/>
              </a:ext>
            </a:extLst>
          </p:cNvPr>
          <p:cNvSpPr txBox="1">
            <a:spLocks/>
          </p:cNvSpPr>
          <p:nvPr/>
        </p:nvSpPr>
        <p:spPr>
          <a:xfrm>
            <a:off x="4398363" y="4349404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Key Principles</a:t>
            </a:r>
          </a:p>
          <a:p>
            <a:pPr>
              <a:buFontTx/>
              <a:buChar char="-"/>
            </a:pPr>
            <a:r>
              <a:rPr lang="en-US" sz="1600" dirty="0"/>
              <a:t>Source Control</a:t>
            </a:r>
          </a:p>
          <a:p>
            <a:pPr>
              <a:buFontTx/>
              <a:buChar char="-"/>
            </a:pPr>
            <a:r>
              <a:rPr lang="en-US" sz="1600" dirty="0"/>
              <a:t>Modularization and versioning</a:t>
            </a:r>
          </a:p>
          <a:p>
            <a:pPr>
              <a:buFontTx/>
              <a:buChar char="-"/>
            </a:pPr>
            <a:r>
              <a:rPr lang="en-US" sz="1600" dirty="0"/>
              <a:t>Idempotency</a:t>
            </a:r>
          </a:p>
          <a:p>
            <a:pPr>
              <a:buFontTx/>
              <a:buChar char="-"/>
            </a:pPr>
            <a:r>
              <a:rPr lang="en-US" sz="1600" dirty="0"/>
              <a:t>Immutability</a:t>
            </a:r>
          </a:p>
          <a:p>
            <a:pPr>
              <a:buFontTx/>
              <a:buChar char="-"/>
            </a:pPr>
            <a:r>
              <a:rPr lang="en-US" sz="1600" dirty="0"/>
              <a:t>CICD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8952275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9806192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FFC8AE4-5582-19C0-DED3-63D8270B8571}"/>
              </a:ext>
            </a:extLst>
          </p:cNvPr>
          <p:cNvGrpSpPr/>
          <p:nvPr/>
        </p:nvGrpSpPr>
        <p:grpSpPr>
          <a:xfrm>
            <a:off x="5075020" y="2636981"/>
            <a:ext cx="1491970" cy="1694291"/>
            <a:chOff x="3591201" y="2800773"/>
            <a:chExt cx="887513" cy="946980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804CD20B-D34E-E250-FE43-7F9A981600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>
              <a:extLst>
                <a:ext uri="{FF2B5EF4-FFF2-40B4-BE49-F238E27FC236}">
                  <a16:creationId xmlns:a16="http://schemas.microsoft.com/office/drawing/2014/main" id="{589B69B8-B088-4632-7BDA-773B26D65C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5E82655F-7EC7-C105-EAA2-389E5E131E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24EF291-C501-D101-0029-071EE9043CF4}"/>
              </a:ext>
            </a:extLst>
          </p:cNvPr>
          <p:cNvSpPr/>
          <p:nvPr/>
        </p:nvSpPr>
        <p:spPr>
          <a:xfrm>
            <a:off x="4187983" y="2655113"/>
            <a:ext cx="3083058" cy="3540825"/>
          </a:xfrm>
          <a:custGeom>
            <a:avLst/>
            <a:gdLst>
              <a:gd name="connsiteX0" fmla="*/ 0 w 3083058"/>
              <a:gd name="connsiteY0" fmla="*/ 513853 h 3540825"/>
              <a:gd name="connsiteX1" fmla="*/ 513853 w 3083058"/>
              <a:gd name="connsiteY1" fmla="*/ 0 h 3540825"/>
              <a:gd name="connsiteX2" fmla="*/ 1068798 w 3083058"/>
              <a:gd name="connsiteY2" fmla="*/ 0 h 3540825"/>
              <a:gd name="connsiteX3" fmla="*/ 1562083 w 3083058"/>
              <a:gd name="connsiteY3" fmla="*/ 0 h 3540825"/>
              <a:gd name="connsiteX4" fmla="*/ 2034813 w 3083058"/>
              <a:gd name="connsiteY4" fmla="*/ 0 h 3540825"/>
              <a:gd name="connsiteX5" fmla="*/ 2569205 w 3083058"/>
              <a:gd name="connsiteY5" fmla="*/ 0 h 3540825"/>
              <a:gd name="connsiteX6" fmla="*/ 3083058 w 3083058"/>
              <a:gd name="connsiteY6" fmla="*/ 513853 h 3540825"/>
              <a:gd name="connsiteX7" fmla="*/ 3083058 w 3083058"/>
              <a:gd name="connsiteY7" fmla="*/ 1016477 h 3540825"/>
              <a:gd name="connsiteX8" fmla="*/ 3083058 w 3083058"/>
              <a:gd name="connsiteY8" fmla="*/ 1569363 h 3540825"/>
              <a:gd name="connsiteX9" fmla="*/ 3083058 w 3083058"/>
              <a:gd name="connsiteY9" fmla="*/ 1996593 h 3540825"/>
              <a:gd name="connsiteX10" fmla="*/ 3083058 w 3083058"/>
              <a:gd name="connsiteY10" fmla="*/ 2499217 h 3540825"/>
              <a:gd name="connsiteX11" fmla="*/ 3083058 w 3083058"/>
              <a:gd name="connsiteY11" fmla="*/ 3026972 h 3540825"/>
              <a:gd name="connsiteX12" fmla="*/ 2569205 w 3083058"/>
              <a:gd name="connsiteY12" fmla="*/ 3540825 h 3540825"/>
              <a:gd name="connsiteX13" fmla="*/ 2055367 w 3083058"/>
              <a:gd name="connsiteY13" fmla="*/ 3540825 h 3540825"/>
              <a:gd name="connsiteX14" fmla="*/ 1582636 w 3083058"/>
              <a:gd name="connsiteY14" fmla="*/ 3540825 h 3540825"/>
              <a:gd name="connsiteX15" fmla="*/ 1068798 w 3083058"/>
              <a:gd name="connsiteY15" fmla="*/ 3540825 h 3540825"/>
              <a:gd name="connsiteX16" fmla="*/ 513853 w 3083058"/>
              <a:gd name="connsiteY16" fmla="*/ 3540825 h 3540825"/>
              <a:gd name="connsiteX17" fmla="*/ 0 w 3083058"/>
              <a:gd name="connsiteY17" fmla="*/ 3026972 h 3540825"/>
              <a:gd name="connsiteX18" fmla="*/ 0 w 3083058"/>
              <a:gd name="connsiteY18" fmla="*/ 2599742 h 3540825"/>
              <a:gd name="connsiteX19" fmla="*/ 0 w 3083058"/>
              <a:gd name="connsiteY19" fmla="*/ 2046856 h 3540825"/>
              <a:gd name="connsiteX20" fmla="*/ 0 w 3083058"/>
              <a:gd name="connsiteY20" fmla="*/ 1544232 h 3540825"/>
              <a:gd name="connsiteX21" fmla="*/ 0 w 3083058"/>
              <a:gd name="connsiteY21" fmla="*/ 1091870 h 3540825"/>
              <a:gd name="connsiteX22" fmla="*/ 0 w 3083058"/>
              <a:gd name="connsiteY22" fmla="*/ 513853 h 354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083058" h="3540825" extrusionOk="0">
                <a:moveTo>
                  <a:pt x="0" y="513853"/>
                </a:moveTo>
                <a:cubicBezTo>
                  <a:pt x="-63821" y="190694"/>
                  <a:pt x="187314" y="16043"/>
                  <a:pt x="513853" y="0"/>
                </a:cubicBezTo>
                <a:cubicBezTo>
                  <a:pt x="713129" y="-14821"/>
                  <a:pt x="869427" y="28123"/>
                  <a:pt x="1068798" y="0"/>
                </a:cubicBezTo>
                <a:cubicBezTo>
                  <a:pt x="1268169" y="-28123"/>
                  <a:pt x="1317565" y="57900"/>
                  <a:pt x="1562083" y="0"/>
                </a:cubicBezTo>
                <a:cubicBezTo>
                  <a:pt x="1806601" y="-57900"/>
                  <a:pt x="1851761" y="11437"/>
                  <a:pt x="2034813" y="0"/>
                </a:cubicBezTo>
                <a:cubicBezTo>
                  <a:pt x="2217865" y="-11437"/>
                  <a:pt x="2452544" y="48083"/>
                  <a:pt x="2569205" y="0"/>
                </a:cubicBezTo>
                <a:cubicBezTo>
                  <a:pt x="2873950" y="-43120"/>
                  <a:pt x="3066959" y="227595"/>
                  <a:pt x="3083058" y="513853"/>
                </a:cubicBezTo>
                <a:cubicBezTo>
                  <a:pt x="3084645" y="647007"/>
                  <a:pt x="3071786" y="798711"/>
                  <a:pt x="3083058" y="1016477"/>
                </a:cubicBezTo>
                <a:cubicBezTo>
                  <a:pt x="3094330" y="1234243"/>
                  <a:pt x="3034871" y="1414205"/>
                  <a:pt x="3083058" y="1569363"/>
                </a:cubicBezTo>
                <a:cubicBezTo>
                  <a:pt x="3131245" y="1724521"/>
                  <a:pt x="3040623" y="1860339"/>
                  <a:pt x="3083058" y="1996593"/>
                </a:cubicBezTo>
                <a:cubicBezTo>
                  <a:pt x="3125493" y="2132847"/>
                  <a:pt x="3073548" y="2354671"/>
                  <a:pt x="3083058" y="2499217"/>
                </a:cubicBezTo>
                <a:cubicBezTo>
                  <a:pt x="3092568" y="2643763"/>
                  <a:pt x="3046948" y="2798149"/>
                  <a:pt x="3083058" y="3026972"/>
                </a:cubicBezTo>
                <a:cubicBezTo>
                  <a:pt x="3128088" y="3266268"/>
                  <a:pt x="2908958" y="3504742"/>
                  <a:pt x="2569205" y="3540825"/>
                </a:cubicBezTo>
                <a:cubicBezTo>
                  <a:pt x="2439243" y="3581174"/>
                  <a:pt x="2174681" y="3489289"/>
                  <a:pt x="2055367" y="3540825"/>
                </a:cubicBezTo>
                <a:cubicBezTo>
                  <a:pt x="1936053" y="3592361"/>
                  <a:pt x="1730368" y="3534225"/>
                  <a:pt x="1582636" y="3540825"/>
                </a:cubicBezTo>
                <a:cubicBezTo>
                  <a:pt x="1434904" y="3547425"/>
                  <a:pt x="1224339" y="3521937"/>
                  <a:pt x="1068798" y="3540825"/>
                </a:cubicBezTo>
                <a:cubicBezTo>
                  <a:pt x="913257" y="3559713"/>
                  <a:pt x="735699" y="3485737"/>
                  <a:pt x="513853" y="3540825"/>
                </a:cubicBezTo>
                <a:cubicBezTo>
                  <a:pt x="219566" y="3509258"/>
                  <a:pt x="76651" y="3295193"/>
                  <a:pt x="0" y="3026972"/>
                </a:cubicBezTo>
                <a:cubicBezTo>
                  <a:pt x="-33977" y="2891023"/>
                  <a:pt x="13887" y="2801848"/>
                  <a:pt x="0" y="2599742"/>
                </a:cubicBezTo>
                <a:cubicBezTo>
                  <a:pt x="-13887" y="2397636"/>
                  <a:pt x="41711" y="2235790"/>
                  <a:pt x="0" y="2046856"/>
                </a:cubicBezTo>
                <a:cubicBezTo>
                  <a:pt x="-41711" y="1857922"/>
                  <a:pt x="34097" y="1747840"/>
                  <a:pt x="0" y="1544232"/>
                </a:cubicBezTo>
                <a:cubicBezTo>
                  <a:pt x="-34097" y="1340624"/>
                  <a:pt x="25886" y="1240929"/>
                  <a:pt x="0" y="1091870"/>
                </a:cubicBezTo>
                <a:cubicBezTo>
                  <a:pt x="-25886" y="942811"/>
                  <a:pt x="64959" y="742895"/>
                  <a:pt x="0" y="513853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222180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L2 – Resource Template Spec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Idempotency-er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5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14384" y="2841878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7925" y="2526460"/>
            <a:ext cx="1963754" cy="196375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9C09223-D36A-E074-1AA6-0CB54D96C302}"/>
              </a:ext>
            </a:extLst>
          </p:cNvPr>
          <p:cNvSpPr txBox="1"/>
          <p:nvPr/>
        </p:nvSpPr>
        <p:spPr>
          <a:xfrm>
            <a:off x="861162" y="4896951"/>
            <a:ext cx="1236877" cy="369332"/>
          </a:xfrm>
          <a:custGeom>
            <a:avLst/>
            <a:gdLst>
              <a:gd name="connsiteX0" fmla="*/ 0 w 1236877"/>
              <a:gd name="connsiteY0" fmla="*/ 0 h 369332"/>
              <a:gd name="connsiteX1" fmla="*/ 399924 w 1236877"/>
              <a:gd name="connsiteY1" fmla="*/ 0 h 369332"/>
              <a:gd name="connsiteX2" fmla="*/ 775110 w 1236877"/>
              <a:gd name="connsiteY2" fmla="*/ 0 h 369332"/>
              <a:gd name="connsiteX3" fmla="*/ 1236877 w 1236877"/>
              <a:gd name="connsiteY3" fmla="*/ 0 h 369332"/>
              <a:gd name="connsiteX4" fmla="*/ 1236877 w 1236877"/>
              <a:gd name="connsiteY4" fmla="*/ 369332 h 369332"/>
              <a:gd name="connsiteX5" fmla="*/ 849322 w 1236877"/>
              <a:gd name="connsiteY5" fmla="*/ 369332 h 369332"/>
              <a:gd name="connsiteX6" fmla="*/ 412292 w 1236877"/>
              <a:gd name="connsiteY6" fmla="*/ 369332 h 369332"/>
              <a:gd name="connsiteX7" fmla="*/ 0 w 1236877"/>
              <a:gd name="connsiteY7" fmla="*/ 369332 h 369332"/>
              <a:gd name="connsiteX8" fmla="*/ 0 w 1236877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6877" h="369332" extrusionOk="0">
                <a:moveTo>
                  <a:pt x="0" y="0"/>
                </a:moveTo>
                <a:cubicBezTo>
                  <a:pt x="175328" y="-17771"/>
                  <a:pt x="280012" y="20305"/>
                  <a:pt x="399924" y="0"/>
                </a:cubicBezTo>
                <a:cubicBezTo>
                  <a:pt x="519836" y="-20305"/>
                  <a:pt x="673338" y="9360"/>
                  <a:pt x="775110" y="0"/>
                </a:cubicBezTo>
                <a:cubicBezTo>
                  <a:pt x="876882" y="-9360"/>
                  <a:pt x="1091270" y="30966"/>
                  <a:pt x="1236877" y="0"/>
                </a:cubicBezTo>
                <a:cubicBezTo>
                  <a:pt x="1272465" y="113493"/>
                  <a:pt x="1210070" y="197069"/>
                  <a:pt x="1236877" y="369332"/>
                </a:cubicBezTo>
                <a:cubicBezTo>
                  <a:pt x="1057692" y="380605"/>
                  <a:pt x="987291" y="349777"/>
                  <a:pt x="849322" y="369332"/>
                </a:cubicBezTo>
                <a:cubicBezTo>
                  <a:pt x="711353" y="388887"/>
                  <a:pt x="537900" y="327536"/>
                  <a:pt x="412292" y="369332"/>
                </a:cubicBezTo>
                <a:cubicBezTo>
                  <a:pt x="286684" y="411128"/>
                  <a:pt x="158184" y="356080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Develop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CEC175-E2F9-A40F-65CB-92B68AEF21E7}"/>
              </a:ext>
            </a:extLst>
          </p:cNvPr>
          <p:cNvSpPr txBox="1"/>
          <p:nvPr/>
        </p:nvSpPr>
        <p:spPr>
          <a:xfrm>
            <a:off x="1508830" y="5420858"/>
            <a:ext cx="1548565" cy="369332"/>
          </a:xfrm>
          <a:custGeom>
            <a:avLst/>
            <a:gdLst>
              <a:gd name="connsiteX0" fmla="*/ 0 w 1548565"/>
              <a:gd name="connsiteY0" fmla="*/ 0 h 369332"/>
              <a:gd name="connsiteX1" fmla="*/ 500703 w 1548565"/>
              <a:gd name="connsiteY1" fmla="*/ 0 h 369332"/>
              <a:gd name="connsiteX2" fmla="*/ 970434 w 1548565"/>
              <a:gd name="connsiteY2" fmla="*/ 0 h 369332"/>
              <a:gd name="connsiteX3" fmla="*/ 1548565 w 1548565"/>
              <a:gd name="connsiteY3" fmla="*/ 0 h 369332"/>
              <a:gd name="connsiteX4" fmla="*/ 1548565 w 1548565"/>
              <a:gd name="connsiteY4" fmla="*/ 369332 h 369332"/>
              <a:gd name="connsiteX5" fmla="*/ 1063348 w 1548565"/>
              <a:gd name="connsiteY5" fmla="*/ 369332 h 369332"/>
              <a:gd name="connsiteX6" fmla="*/ 516188 w 1548565"/>
              <a:gd name="connsiteY6" fmla="*/ 369332 h 369332"/>
              <a:gd name="connsiteX7" fmla="*/ 0 w 1548565"/>
              <a:gd name="connsiteY7" fmla="*/ 369332 h 369332"/>
              <a:gd name="connsiteX8" fmla="*/ 0 w 1548565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8565" h="369332" extrusionOk="0">
                <a:moveTo>
                  <a:pt x="0" y="0"/>
                </a:moveTo>
                <a:cubicBezTo>
                  <a:pt x="188744" y="-47250"/>
                  <a:pt x="363565" y="29188"/>
                  <a:pt x="500703" y="0"/>
                </a:cubicBezTo>
                <a:cubicBezTo>
                  <a:pt x="637841" y="-29188"/>
                  <a:pt x="876338" y="27244"/>
                  <a:pt x="970434" y="0"/>
                </a:cubicBezTo>
                <a:cubicBezTo>
                  <a:pt x="1064530" y="-27244"/>
                  <a:pt x="1364252" y="59563"/>
                  <a:pt x="1548565" y="0"/>
                </a:cubicBezTo>
                <a:cubicBezTo>
                  <a:pt x="1584153" y="113493"/>
                  <a:pt x="1521758" y="197069"/>
                  <a:pt x="1548565" y="369332"/>
                </a:cubicBezTo>
                <a:cubicBezTo>
                  <a:pt x="1380486" y="378330"/>
                  <a:pt x="1230603" y="356389"/>
                  <a:pt x="1063348" y="369332"/>
                </a:cubicBezTo>
                <a:cubicBezTo>
                  <a:pt x="896093" y="382275"/>
                  <a:pt x="690595" y="357083"/>
                  <a:pt x="516188" y="369332"/>
                </a:cubicBezTo>
                <a:cubicBezTo>
                  <a:pt x="341781" y="381581"/>
                  <a:pt x="145639" y="3359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Platform Tea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635322" y="4373044"/>
            <a:ext cx="2422073" cy="369332"/>
          </a:xfrm>
          <a:custGeom>
            <a:avLst/>
            <a:gdLst>
              <a:gd name="connsiteX0" fmla="*/ 0 w 2422073"/>
              <a:gd name="connsiteY0" fmla="*/ 0 h 369332"/>
              <a:gd name="connsiteX1" fmla="*/ 460194 w 2422073"/>
              <a:gd name="connsiteY1" fmla="*/ 0 h 369332"/>
              <a:gd name="connsiteX2" fmla="*/ 871946 w 2422073"/>
              <a:gd name="connsiteY2" fmla="*/ 0 h 369332"/>
              <a:gd name="connsiteX3" fmla="*/ 1404802 w 2422073"/>
              <a:gd name="connsiteY3" fmla="*/ 0 h 369332"/>
              <a:gd name="connsiteX4" fmla="*/ 1864996 w 2422073"/>
              <a:gd name="connsiteY4" fmla="*/ 0 h 369332"/>
              <a:gd name="connsiteX5" fmla="*/ 2422073 w 2422073"/>
              <a:gd name="connsiteY5" fmla="*/ 0 h 369332"/>
              <a:gd name="connsiteX6" fmla="*/ 2422073 w 2422073"/>
              <a:gd name="connsiteY6" fmla="*/ 369332 h 369332"/>
              <a:gd name="connsiteX7" fmla="*/ 1937658 w 2422073"/>
              <a:gd name="connsiteY7" fmla="*/ 369332 h 369332"/>
              <a:gd name="connsiteX8" fmla="*/ 1404802 w 2422073"/>
              <a:gd name="connsiteY8" fmla="*/ 369332 h 369332"/>
              <a:gd name="connsiteX9" fmla="*/ 993050 w 2422073"/>
              <a:gd name="connsiteY9" fmla="*/ 369332 h 369332"/>
              <a:gd name="connsiteX10" fmla="*/ 508635 w 2422073"/>
              <a:gd name="connsiteY10" fmla="*/ 369332 h 369332"/>
              <a:gd name="connsiteX11" fmla="*/ 0 w 2422073"/>
              <a:gd name="connsiteY11" fmla="*/ 369332 h 369332"/>
              <a:gd name="connsiteX12" fmla="*/ 0 w 2422073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22073" h="369332" extrusionOk="0">
                <a:moveTo>
                  <a:pt x="0" y="0"/>
                </a:moveTo>
                <a:cubicBezTo>
                  <a:pt x="199693" y="-10251"/>
                  <a:pt x="246167" y="30869"/>
                  <a:pt x="460194" y="0"/>
                </a:cubicBezTo>
                <a:cubicBezTo>
                  <a:pt x="674221" y="-30869"/>
                  <a:pt x="708354" y="1783"/>
                  <a:pt x="871946" y="0"/>
                </a:cubicBezTo>
                <a:cubicBezTo>
                  <a:pt x="1035538" y="-1783"/>
                  <a:pt x="1215339" y="49588"/>
                  <a:pt x="1404802" y="0"/>
                </a:cubicBezTo>
                <a:cubicBezTo>
                  <a:pt x="1594265" y="-49588"/>
                  <a:pt x="1640279" y="31720"/>
                  <a:pt x="1864996" y="0"/>
                </a:cubicBezTo>
                <a:cubicBezTo>
                  <a:pt x="2089713" y="-31720"/>
                  <a:pt x="2225679" y="45722"/>
                  <a:pt x="2422073" y="0"/>
                </a:cubicBezTo>
                <a:cubicBezTo>
                  <a:pt x="2458233" y="81226"/>
                  <a:pt x="2400535" y="278722"/>
                  <a:pt x="2422073" y="369332"/>
                </a:cubicBezTo>
                <a:cubicBezTo>
                  <a:pt x="2243299" y="402811"/>
                  <a:pt x="2104963" y="338227"/>
                  <a:pt x="1937658" y="369332"/>
                </a:cubicBezTo>
                <a:cubicBezTo>
                  <a:pt x="1770354" y="400437"/>
                  <a:pt x="1620687" y="307360"/>
                  <a:pt x="1404802" y="369332"/>
                </a:cubicBezTo>
                <a:cubicBezTo>
                  <a:pt x="1188917" y="431304"/>
                  <a:pt x="1131819" y="335684"/>
                  <a:pt x="993050" y="369332"/>
                </a:cubicBezTo>
                <a:cubicBezTo>
                  <a:pt x="854281" y="402980"/>
                  <a:pt x="704761" y="348963"/>
                  <a:pt x="508635" y="369332"/>
                </a:cubicBezTo>
                <a:cubicBezTo>
                  <a:pt x="312510" y="389701"/>
                  <a:pt x="246365" y="328998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Operations/Onboarding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29254" y="4337825"/>
            <a:ext cx="1270677" cy="386034"/>
          </a:xfrm>
          <a:custGeom>
            <a:avLst/>
            <a:gdLst>
              <a:gd name="connsiteX0" fmla="*/ 0 w 1270677"/>
              <a:gd name="connsiteY0" fmla="*/ 64340 h 386034"/>
              <a:gd name="connsiteX1" fmla="*/ 64340 w 1270677"/>
              <a:gd name="connsiteY1" fmla="*/ 0 h 386034"/>
              <a:gd name="connsiteX2" fmla="*/ 658178 w 1270677"/>
              <a:gd name="connsiteY2" fmla="*/ 0 h 386034"/>
              <a:gd name="connsiteX3" fmla="*/ 1206337 w 1270677"/>
              <a:gd name="connsiteY3" fmla="*/ 0 h 386034"/>
              <a:gd name="connsiteX4" fmla="*/ 1270677 w 1270677"/>
              <a:gd name="connsiteY4" fmla="*/ 64340 h 386034"/>
              <a:gd name="connsiteX5" fmla="*/ 1270677 w 1270677"/>
              <a:gd name="connsiteY5" fmla="*/ 321694 h 386034"/>
              <a:gd name="connsiteX6" fmla="*/ 1206337 w 1270677"/>
              <a:gd name="connsiteY6" fmla="*/ 386034 h 386034"/>
              <a:gd name="connsiteX7" fmla="*/ 635339 w 1270677"/>
              <a:gd name="connsiteY7" fmla="*/ 386034 h 386034"/>
              <a:gd name="connsiteX8" fmla="*/ 64340 w 1270677"/>
              <a:gd name="connsiteY8" fmla="*/ 386034 h 386034"/>
              <a:gd name="connsiteX9" fmla="*/ 0 w 1270677"/>
              <a:gd name="connsiteY9" fmla="*/ 321694 h 386034"/>
              <a:gd name="connsiteX10" fmla="*/ 0 w 1270677"/>
              <a:gd name="connsiteY10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0677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305104" y="-12353"/>
                  <a:pt x="404359" y="-13726"/>
                  <a:pt x="658178" y="0"/>
                </a:cubicBezTo>
                <a:cubicBezTo>
                  <a:pt x="911997" y="13726"/>
                  <a:pt x="1013716" y="-11684"/>
                  <a:pt x="1206337" y="0"/>
                </a:cubicBezTo>
                <a:cubicBezTo>
                  <a:pt x="1234352" y="-4114"/>
                  <a:pt x="1274606" y="30683"/>
                  <a:pt x="1270677" y="64340"/>
                </a:cubicBezTo>
                <a:cubicBezTo>
                  <a:pt x="1276931" y="162416"/>
                  <a:pt x="1279897" y="205598"/>
                  <a:pt x="1270677" y="321694"/>
                </a:cubicBezTo>
                <a:cubicBezTo>
                  <a:pt x="1272476" y="354301"/>
                  <a:pt x="1236545" y="390714"/>
                  <a:pt x="1206337" y="386034"/>
                </a:cubicBezTo>
                <a:cubicBezTo>
                  <a:pt x="1018204" y="391331"/>
                  <a:pt x="872347" y="408582"/>
                  <a:pt x="635339" y="386034"/>
                </a:cubicBezTo>
                <a:cubicBezTo>
                  <a:pt x="398331" y="363486"/>
                  <a:pt x="230275" y="367458"/>
                  <a:pt x="64340" y="386034"/>
                </a:cubicBezTo>
                <a:cubicBezTo>
                  <a:pt x="21150" y="385596"/>
                  <a:pt x="2276" y="350987"/>
                  <a:pt x="0" y="321694"/>
                </a:cubicBezTo>
                <a:cubicBezTo>
                  <a:pt x="3363" y="261429"/>
                  <a:pt x="10077" y="168251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8098358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2FC9430-89FA-B6F5-FF73-09BF4CD95552}"/>
              </a:ext>
            </a:extLst>
          </p:cNvPr>
          <p:cNvSpPr txBox="1">
            <a:spLocks/>
          </p:cNvSpPr>
          <p:nvPr/>
        </p:nvSpPr>
        <p:spPr>
          <a:xfrm>
            <a:off x="4398363" y="4349404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Key Principles</a:t>
            </a:r>
          </a:p>
          <a:p>
            <a:pPr>
              <a:buFontTx/>
              <a:buChar char="-"/>
            </a:pPr>
            <a:r>
              <a:rPr lang="en-US" sz="1600" dirty="0"/>
              <a:t>Source Control</a:t>
            </a:r>
          </a:p>
          <a:p>
            <a:pPr>
              <a:buFontTx/>
              <a:buChar char="-"/>
            </a:pPr>
            <a:r>
              <a:rPr lang="en-US" sz="1600" dirty="0"/>
              <a:t>Modularization and versioning</a:t>
            </a:r>
          </a:p>
          <a:p>
            <a:pPr>
              <a:buFontTx/>
              <a:buChar char="-"/>
            </a:pPr>
            <a:r>
              <a:rPr lang="en-US" sz="1600" dirty="0"/>
              <a:t>Idempotency</a:t>
            </a:r>
          </a:p>
          <a:p>
            <a:pPr>
              <a:buFontTx/>
              <a:buChar char="-"/>
            </a:pPr>
            <a:r>
              <a:rPr lang="en-US" sz="1600" dirty="0"/>
              <a:t>Immutability</a:t>
            </a:r>
          </a:p>
          <a:p>
            <a:pPr>
              <a:buFontTx/>
              <a:buChar char="-"/>
            </a:pPr>
            <a:r>
              <a:rPr lang="en-US" sz="1600" dirty="0"/>
              <a:t>CICD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8952275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9806192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FFC8AE4-5582-19C0-DED3-63D8270B8571}"/>
              </a:ext>
            </a:extLst>
          </p:cNvPr>
          <p:cNvGrpSpPr/>
          <p:nvPr/>
        </p:nvGrpSpPr>
        <p:grpSpPr>
          <a:xfrm>
            <a:off x="5075020" y="2636981"/>
            <a:ext cx="1491970" cy="1694291"/>
            <a:chOff x="3591201" y="2800773"/>
            <a:chExt cx="887513" cy="946980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804CD20B-D34E-E250-FE43-7F9A981600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>
              <a:extLst>
                <a:ext uri="{FF2B5EF4-FFF2-40B4-BE49-F238E27FC236}">
                  <a16:creationId xmlns:a16="http://schemas.microsoft.com/office/drawing/2014/main" id="{589B69B8-B088-4632-7BDA-773B26D65C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5E82655F-7EC7-C105-EAA2-389E5E131E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24EF291-C501-D101-0029-071EE9043CF4}"/>
              </a:ext>
            </a:extLst>
          </p:cNvPr>
          <p:cNvSpPr/>
          <p:nvPr/>
        </p:nvSpPr>
        <p:spPr>
          <a:xfrm>
            <a:off x="4187983" y="2655113"/>
            <a:ext cx="3083058" cy="3540825"/>
          </a:xfrm>
          <a:custGeom>
            <a:avLst/>
            <a:gdLst>
              <a:gd name="connsiteX0" fmla="*/ 0 w 3083058"/>
              <a:gd name="connsiteY0" fmla="*/ 513853 h 3540825"/>
              <a:gd name="connsiteX1" fmla="*/ 513853 w 3083058"/>
              <a:gd name="connsiteY1" fmla="*/ 0 h 3540825"/>
              <a:gd name="connsiteX2" fmla="*/ 1068798 w 3083058"/>
              <a:gd name="connsiteY2" fmla="*/ 0 h 3540825"/>
              <a:gd name="connsiteX3" fmla="*/ 1562083 w 3083058"/>
              <a:gd name="connsiteY3" fmla="*/ 0 h 3540825"/>
              <a:gd name="connsiteX4" fmla="*/ 2034813 w 3083058"/>
              <a:gd name="connsiteY4" fmla="*/ 0 h 3540825"/>
              <a:gd name="connsiteX5" fmla="*/ 2569205 w 3083058"/>
              <a:gd name="connsiteY5" fmla="*/ 0 h 3540825"/>
              <a:gd name="connsiteX6" fmla="*/ 3083058 w 3083058"/>
              <a:gd name="connsiteY6" fmla="*/ 513853 h 3540825"/>
              <a:gd name="connsiteX7" fmla="*/ 3083058 w 3083058"/>
              <a:gd name="connsiteY7" fmla="*/ 1016477 h 3540825"/>
              <a:gd name="connsiteX8" fmla="*/ 3083058 w 3083058"/>
              <a:gd name="connsiteY8" fmla="*/ 1569363 h 3540825"/>
              <a:gd name="connsiteX9" fmla="*/ 3083058 w 3083058"/>
              <a:gd name="connsiteY9" fmla="*/ 1996593 h 3540825"/>
              <a:gd name="connsiteX10" fmla="*/ 3083058 w 3083058"/>
              <a:gd name="connsiteY10" fmla="*/ 2499217 h 3540825"/>
              <a:gd name="connsiteX11" fmla="*/ 3083058 w 3083058"/>
              <a:gd name="connsiteY11" fmla="*/ 3026972 h 3540825"/>
              <a:gd name="connsiteX12" fmla="*/ 2569205 w 3083058"/>
              <a:gd name="connsiteY12" fmla="*/ 3540825 h 3540825"/>
              <a:gd name="connsiteX13" fmla="*/ 2055367 w 3083058"/>
              <a:gd name="connsiteY13" fmla="*/ 3540825 h 3540825"/>
              <a:gd name="connsiteX14" fmla="*/ 1582636 w 3083058"/>
              <a:gd name="connsiteY14" fmla="*/ 3540825 h 3540825"/>
              <a:gd name="connsiteX15" fmla="*/ 1068798 w 3083058"/>
              <a:gd name="connsiteY15" fmla="*/ 3540825 h 3540825"/>
              <a:gd name="connsiteX16" fmla="*/ 513853 w 3083058"/>
              <a:gd name="connsiteY16" fmla="*/ 3540825 h 3540825"/>
              <a:gd name="connsiteX17" fmla="*/ 0 w 3083058"/>
              <a:gd name="connsiteY17" fmla="*/ 3026972 h 3540825"/>
              <a:gd name="connsiteX18" fmla="*/ 0 w 3083058"/>
              <a:gd name="connsiteY18" fmla="*/ 2599742 h 3540825"/>
              <a:gd name="connsiteX19" fmla="*/ 0 w 3083058"/>
              <a:gd name="connsiteY19" fmla="*/ 2046856 h 3540825"/>
              <a:gd name="connsiteX20" fmla="*/ 0 w 3083058"/>
              <a:gd name="connsiteY20" fmla="*/ 1544232 h 3540825"/>
              <a:gd name="connsiteX21" fmla="*/ 0 w 3083058"/>
              <a:gd name="connsiteY21" fmla="*/ 1091870 h 3540825"/>
              <a:gd name="connsiteX22" fmla="*/ 0 w 3083058"/>
              <a:gd name="connsiteY22" fmla="*/ 513853 h 354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083058" h="3540825" extrusionOk="0">
                <a:moveTo>
                  <a:pt x="0" y="513853"/>
                </a:moveTo>
                <a:cubicBezTo>
                  <a:pt x="-63821" y="190694"/>
                  <a:pt x="187314" y="16043"/>
                  <a:pt x="513853" y="0"/>
                </a:cubicBezTo>
                <a:cubicBezTo>
                  <a:pt x="713129" y="-14821"/>
                  <a:pt x="869427" y="28123"/>
                  <a:pt x="1068798" y="0"/>
                </a:cubicBezTo>
                <a:cubicBezTo>
                  <a:pt x="1268169" y="-28123"/>
                  <a:pt x="1317565" y="57900"/>
                  <a:pt x="1562083" y="0"/>
                </a:cubicBezTo>
                <a:cubicBezTo>
                  <a:pt x="1806601" y="-57900"/>
                  <a:pt x="1851761" y="11437"/>
                  <a:pt x="2034813" y="0"/>
                </a:cubicBezTo>
                <a:cubicBezTo>
                  <a:pt x="2217865" y="-11437"/>
                  <a:pt x="2452544" y="48083"/>
                  <a:pt x="2569205" y="0"/>
                </a:cubicBezTo>
                <a:cubicBezTo>
                  <a:pt x="2873950" y="-43120"/>
                  <a:pt x="3066959" y="227595"/>
                  <a:pt x="3083058" y="513853"/>
                </a:cubicBezTo>
                <a:cubicBezTo>
                  <a:pt x="3084645" y="647007"/>
                  <a:pt x="3071786" y="798711"/>
                  <a:pt x="3083058" y="1016477"/>
                </a:cubicBezTo>
                <a:cubicBezTo>
                  <a:pt x="3094330" y="1234243"/>
                  <a:pt x="3034871" y="1414205"/>
                  <a:pt x="3083058" y="1569363"/>
                </a:cubicBezTo>
                <a:cubicBezTo>
                  <a:pt x="3131245" y="1724521"/>
                  <a:pt x="3040623" y="1860339"/>
                  <a:pt x="3083058" y="1996593"/>
                </a:cubicBezTo>
                <a:cubicBezTo>
                  <a:pt x="3125493" y="2132847"/>
                  <a:pt x="3073548" y="2354671"/>
                  <a:pt x="3083058" y="2499217"/>
                </a:cubicBezTo>
                <a:cubicBezTo>
                  <a:pt x="3092568" y="2643763"/>
                  <a:pt x="3046948" y="2798149"/>
                  <a:pt x="3083058" y="3026972"/>
                </a:cubicBezTo>
                <a:cubicBezTo>
                  <a:pt x="3128088" y="3266268"/>
                  <a:pt x="2908958" y="3504742"/>
                  <a:pt x="2569205" y="3540825"/>
                </a:cubicBezTo>
                <a:cubicBezTo>
                  <a:pt x="2439243" y="3581174"/>
                  <a:pt x="2174681" y="3489289"/>
                  <a:pt x="2055367" y="3540825"/>
                </a:cubicBezTo>
                <a:cubicBezTo>
                  <a:pt x="1936053" y="3592361"/>
                  <a:pt x="1730368" y="3534225"/>
                  <a:pt x="1582636" y="3540825"/>
                </a:cubicBezTo>
                <a:cubicBezTo>
                  <a:pt x="1434904" y="3547425"/>
                  <a:pt x="1224339" y="3521937"/>
                  <a:pt x="1068798" y="3540825"/>
                </a:cubicBezTo>
                <a:cubicBezTo>
                  <a:pt x="913257" y="3559713"/>
                  <a:pt x="735699" y="3485737"/>
                  <a:pt x="513853" y="3540825"/>
                </a:cubicBezTo>
                <a:cubicBezTo>
                  <a:pt x="219566" y="3509258"/>
                  <a:pt x="76651" y="3295193"/>
                  <a:pt x="0" y="3026972"/>
                </a:cubicBezTo>
                <a:cubicBezTo>
                  <a:pt x="-33977" y="2891023"/>
                  <a:pt x="13887" y="2801848"/>
                  <a:pt x="0" y="2599742"/>
                </a:cubicBezTo>
                <a:cubicBezTo>
                  <a:pt x="-13887" y="2397636"/>
                  <a:pt x="41711" y="2235790"/>
                  <a:pt x="0" y="2046856"/>
                </a:cubicBezTo>
                <a:cubicBezTo>
                  <a:pt x="-41711" y="1857922"/>
                  <a:pt x="34097" y="1747840"/>
                  <a:pt x="0" y="1544232"/>
                </a:cubicBezTo>
                <a:cubicBezTo>
                  <a:pt x="-34097" y="1340624"/>
                  <a:pt x="25886" y="1240929"/>
                  <a:pt x="0" y="1091870"/>
                </a:cubicBezTo>
                <a:cubicBezTo>
                  <a:pt x="-25886" y="942811"/>
                  <a:pt x="64959" y="742895"/>
                  <a:pt x="0" y="513853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844112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L3 – Application Template Spec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Idempotency-er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6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14384" y="2841878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7925" y="2526460"/>
            <a:ext cx="1963754" cy="196375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9C09223-D36A-E074-1AA6-0CB54D96C302}"/>
              </a:ext>
            </a:extLst>
          </p:cNvPr>
          <p:cNvSpPr txBox="1"/>
          <p:nvPr/>
        </p:nvSpPr>
        <p:spPr>
          <a:xfrm>
            <a:off x="861162" y="4896951"/>
            <a:ext cx="1236877" cy="369332"/>
          </a:xfrm>
          <a:custGeom>
            <a:avLst/>
            <a:gdLst>
              <a:gd name="connsiteX0" fmla="*/ 0 w 1236877"/>
              <a:gd name="connsiteY0" fmla="*/ 0 h 369332"/>
              <a:gd name="connsiteX1" fmla="*/ 399924 w 1236877"/>
              <a:gd name="connsiteY1" fmla="*/ 0 h 369332"/>
              <a:gd name="connsiteX2" fmla="*/ 775110 w 1236877"/>
              <a:gd name="connsiteY2" fmla="*/ 0 h 369332"/>
              <a:gd name="connsiteX3" fmla="*/ 1236877 w 1236877"/>
              <a:gd name="connsiteY3" fmla="*/ 0 h 369332"/>
              <a:gd name="connsiteX4" fmla="*/ 1236877 w 1236877"/>
              <a:gd name="connsiteY4" fmla="*/ 369332 h 369332"/>
              <a:gd name="connsiteX5" fmla="*/ 849322 w 1236877"/>
              <a:gd name="connsiteY5" fmla="*/ 369332 h 369332"/>
              <a:gd name="connsiteX6" fmla="*/ 412292 w 1236877"/>
              <a:gd name="connsiteY6" fmla="*/ 369332 h 369332"/>
              <a:gd name="connsiteX7" fmla="*/ 0 w 1236877"/>
              <a:gd name="connsiteY7" fmla="*/ 369332 h 369332"/>
              <a:gd name="connsiteX8" fmla="*/ 0 w 1236877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6877" h="369332" extrusionOk="0">
                <a:moveTo>
                  <a:pt x="0" y="0"/>
                </a:moveTo>
                <a:cubicBezTo>
                  <a:pt x="175328" y="-17771"/>
                  <a:pt x="280012" y="20305"/>
                  <a:pt x="399924" y="0"/>
                </a:cubicBezTo>
                <a:cubicBezTo>
                  <a:pt x="519836" y="-20305"/>
                  <a:pt x="673338" y="9360"/>
                  <a:pt x="775110" y="0"/>
                </a:cubicBezTo>
                <a:cubicBezTo>
                  <a:pt x="876882" y="-9360"/>
                  <a:pt x="1091270" y="30966"/>
                  <a:pt x="1236877" y="0"/>
                </a:cubicBezTo>
                <a:cubicBezTo>
                  <a:pt x="1272465" y="113493"/>
                  <a:pt x="1210070" y="197069"/>
                  <a:pt x="1236877" y="369332"/>
                </a:cubicBezTo>
                <a:cubicBezTo>
                  <a:pt x="1057692" y="380605"/>
                  <a:pt x="987291" y="349777"/>
                  <a:pt x="849322" y="369332"/>
                </a:cubicBezTo>
                <a:cubicBezTo>
                  <a:pt x="711353" y="388887"/>
                  <a:pt x="537900" y="327536"/>
                  <a:pt x="412292" y="369332"/>
                </a:cubicBezTo>
                <a:cubicBezTo>
                  <a:pt x="286684" y="411128"/>
                  <a:pt x="158184" y="356080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Develop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CEC175-E2F9-A40F-65CB-92B68AEF21E7}"/>
              </a:ext>
            </a:extLst>
          </p:cNvPr>
          <p:cNvSpPr txBox="1"/>
          <p:nvPr/>
        </p:nvSpPr>
        <p:spPr>
          <a:xfrm>
            <a:off x="1508830" y="5420858"/>
            <a:ext cx="1548565" cy="369332"/>
          </a:xfrm>
          <a:custGeom>
            <a:avLst/>
            <a:gdLst>
              <a:gd name="connsiteX0" fmla="*/ 0 w 1548565"/>
              <a:gd name="connsiteY0" fmla="*/ 0 h 369332"/>
              <a:gd name="connsiteX1" fmla="*/ 500703 w 1548565"/>
              <a:gd name="connsiteY1" fmla="*/ 0 h 369332"/>
              <a:gd name="connsiteX2" fmla="*/ 970434 w 1548565"/>
              <a:gd name="connsiteY2" fmla="*/ 0 h 369332"/>
              <a:gd name="connsiteX3" fmla="*/ 1548565 w 1548565"/>
              <a:gd name="connsiteY3" fmla="*/ 0 h 369332"/>
              <a:gd name="connsiteX4" fmla="*/ 1548565 w 1548565"/>
              <a:gd name="connsiteY4" fmla="*/ 369332 h 369332"/>
              <a:gd name="connsiteX5" fmla="*/ 1063348 w 1548565"/>
              <a:gd name="connsiteY5" fmla="*/ 369332 h 369332"/>
              <a:gd name="connsiteX6" fmla="*/ 516188 w 1548565"/>
              <a:gd name="connsiteY6" fmla="*/ 369332 h 369332"/>
              <a:gd name="connsiteX7" fmla="*/ 0 w 1548565"/>
              <a:gd name="connsiteY7" fmla="*/ 369332 h 369332"/>
              <a:gd name="connsiteX8" fmla="*/ 0 w 1548565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8565" h="369332" extrusionOk="0">
                <a:moveTo>
                  <a:pt x="0" y="0"/>
                </a:moveTo>
                <a:cubicBezTo>
                  <a:pt x="188744" y="-47250"/>
                  <a:pt x="363565" y="29188"/>
                  <a:pt x="500703" y="0"/>
                </a:cubicBezTo>
                <a:cubicBezTo>
                  <a:pt x="637841" y="-29188"/>
                  <a:pt x="876338" y="27244"/>
                  <a:pt x="970434" y="0"/>
                </a:cubicBezTo>
                <a:cubicBezTo>
                  <a:pt x="1064530" y="-27244"/>
                  <a:pt x="1364252" y="59563"/>
                  <a:pt x="1548565" y="0"/>
                </a:cubicBezTo>
                <a:cubicBezTo>
                  <a:pt x="1584153" y="113493"/>
                  <a:pt x="1521758" y="197069"/>
                  <a:pt x="1548565" y="369332"/>
                </a:cubicBezTo>
                <a:cubicBezTo>
                  <a:pt x="1380486" y="378330"/>
                  <a:pt x="1230603" y="356389"/>
                  <a:pt x="1063348" y="369332"/>
                </a:cubicBezTo>
                <a:cubicBezTo>
                  <a:pt x="896093" y="382275"/>
                  <a:pt x="690595" y="357083"/>
                  <a:pt x="516188" y="369332"/>
                </a:cubicBezTo>
                <a:cubicBezTo>
                  <a:pt x="341781" y="381581"/>
                  <a:pt x="145639" y="3359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Platform Tea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635322" y="4373044"/>
            <a:ext cx="2422073" cy="369332"/>
          </a:xfrm>
          <a:custGeom>
            <a:avLst/>
            <a:gdLst>
              <a:gd name="connsiteX0" fmla="*/ 0 w 2422073"/>
              <a:gd name="connsiteY0" fmla="*/ 0 h 369332"/>
              <a:gd name="connsiteX1" fmla="*/ 460194 w 2422073"/>
              <a:gd name="connsiteY1" fmla="*/ 0 h 369332"/>
              <a:gd name="connsiteX2" fmla="*/ 871946 w 2422073"/>
              <a:gd name="connsiteY2" fmla="*/ 0 h 369332"/>
              <a:gd name="connsiteX3" fmla="*/ 1404802 w 2422073"/>
              <a:gd name="connsiteY3" fmla="*/ 0 h 369332"/>
              <a:gd name="connsiteX4" fmla="*/ 1864996 w 2422073"/>
              <a:gd name="connsiteY4" fmla="*/ 0 h 369332"/>
              <a:gd name="connsiteX5" fmla="*/ 2422073 w 2422073"/>
              <a:gd name="connsiteY5" fmla="*/ 0 h 369332"/>
              <a:gd name="connsiteX6" fmla="*/ 2422073 w 2422073"/>
              <a:gd name="connsiteY6" fmla="*/ 369332 h 369332"/>
              <a:gd name="connsiteX7" fmla="*/ 1937658 w 2422073"/>
              <a:gd name="connsiteY7" fmla="*/ 369332 h 369332"/>
              <a:gd name="connsiteX8" fmla="*/ 1404802 w 2422073"/>
              <a:gd name="connsiteY8" fmla="*/ 369332 h 369332"/>
              <a:gd name="connsiteX9" fmla="*/ 993050 w 2422073"/>
              <a:gd name="connsiteY9" fmla="*/ 369332 h 369332"/>
              <a:gd name="connsiteX10" fmla="*/ 508635 w 2422073"/>
              <a:gd name="connsiteY10" fmla="*/ 369332 h 369332"/>
              <a:gd name="connsiteX11" fmla="*/ 0 w 2422073"/>
              <a:gd name="connsiteY11" fmla="*/ 369332 h 369332"/>
              <a:gd name="connsiteX12" fmla="*/ 0 w 2422073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22073" h="369332" extrusionOk="0">
                <a:moveTo>
                  <a:pt x="0" y="0"/>
                </a:moveTo>
                <a:cubicBezTo>
                  <a:pt x="199693" y="-10251"/>
                  <a:pt x="246167" y="30869"/>
                  <a:pt x="460194" y="0"/>
                </a:cubicBezTo>
                <a:cubicBezTo>
                  <a:pt x="674221" y="-30869"/>
                  <a:pt x="708354" y="1783"/>
                  <a:pt x="871946" y="0"/>
                </a:cubicBezTo>
                <a:cubicBezTo>
                  <a:pt x="1035538" y="-1783"/>
                  <a:pt x="1215339" y="49588"/>
                  <a:pt x="1404802" y="0"/>
                </a:cubicBezTo>
                <a:cubicBezTo>
                  <a:pt x="1594265" y="-49588"/>
                  <a:pt x="1640279" y="31720"/>
                  <a:pt x="1864996" y="0"/>
                </a:cubicBezTo>
                <a:cubicBezTo>
                  <a:pt x="2089713" y="-31720"/>
                  <a:pt x="2225679" y="45722"/>
                  <a:pt x="2422073" y="0"/>
                </a:cubicBezTo>
                <a:cubicBezTo>
                  <a:pt x="2458233" y="81226"/>
                  <a:pt x="2400535" y="278722"/>
                  <a:pt x="2422073" y="369332"/>
                </a:cubicBezTo>
                <a:cubicBezTo>
                  <a:pt x="2243299" y="402811"/>
                  <a:pt x="2104963" y="338227"/>
                  <a:pt x="1937658" y="369332"/>
                </a:cubicBezTo>
                <a:cubicBezTo>
                  <a:pt x="1770354" y="400437"/>
                  <a:pt x="1620687" y="307360"/>
                  <a:pt x="1404802" y="369332"/>
                </a:cubicBezTo>
                <a:cubicBezTo>
                  <a:pt x="1188917" y="431304"/>
                  <a:pt x="1131819" y="335684"/>
                  <a:pt x="993050" y="369332"/>
                </a:cubicBezTo>
                <a:cubicBezTo>
                  <a:pt x="854281" y="402980"/>
                  <a:pt x="704761" y="348963"/>
                  <a:pt x="508635" y="369332"/>
                </a:cubicBezTo>
                <a:cubicBezTo>
                  <a:pt x="312510" y="389701"/>
                  <a:pt x="246365" y="328998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Operations/Onboarding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29254" y="4337825"/>
            <a:ext cx="1270677" cy="386034"/>
          </a:xfrm>
          <a:custGeom>
            <a:avLst/>
            <a:gdLst>
              <a:gd name="connsiteX0" fmla="*/ 0 w 1270677"/>
              <a:gd name="connsiteY0" fmla="*/ 64340 h 386034"/>
              <a:gd name="connsiteX1" fmla="*/ 64340 w 1270677"/>
              <a:gd name="connsiteY1" fmla="*/ 0 h 386034"/>
              <a:gd name="connsiteX2" fmla="*/ 658178 w 1270677"/>
              <a:gd name="connsiteY2" fmla="*/ 0 h 386034"/>
              <a:gd name="connsiteX3" fmla="*/ 1206337 w 1270677"/>
              <a:gd name="connsiteY3" fmla="*/ 0 h 386034"/>
              <a:gd name="connsiteX4" fmla="*/ 1270677 w 1270677"/>
              <a:gd name="connsiteY4" fmla="*/ 64340 h 386034"/>
              <a:gd name="connsiteX5" fmla="*/ 1270677 w 1270677"/>
              <a:gd name="connsiteY5" fmla="*/ 321694 h 386034"/>
              <a:gd name="connsiteX6" fmla="*/ 1206337 w 1270677"/>
              <a:gd name="connsiteY6" fmla="*/ 386034 h 386034"/>
              <a:gd name="connsiteX7" fmla="*/ 635339 w 1270677"/>
              <a:gd name="connsiteY7" fmla="*/ 386034 h 386034"/>
              <a:gd name="connsiteX8" fmla="*/ 64340 w 1270677"/>
              <a:gd name="connsiteY8" fmla="*/ 386034 h 386034"/>
              <a:gd name="connsiteX9" fmla="*/ 0 w 1270677"/>
              <a:gd name="connsiteY9" fmla="*/ 321694 h 386034"/>
              <a:gd name="connsiteX10" fmla="*/ 0 w 1270677"/>
              <a:gd name="connsiteY10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0677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305104" y="-12353"/>
                  <a:pt x="404359" y="-13726"/>
                  <a:pt x="658178" y="0"/>
                </a:cubicBezTo>
                <a:cubicBezTo>
                  <a:pt x="911997" y="13726"/>
                  <a:pt x="1013716" y="-11684"/>
                  <a:pt x="1206337" y="0"/>
                </a:cubicBezTo>
                <a:cubicBezTo>
                  <a:pt x="1234352" y="-4114"/>
                  <a:pt x="1274606" y="30683"/>
                  <a:pt x="1270677" y="64340"/>
                </a:cubicBezTo>
                <a:cubicBezTo>
                  <a:pt x="1276931" y="162416"/>
                  <a:pt x="1279897" y="205598"/>
                  <a:pt x="1270677" y="321694"/>
                </a:cubicBezTo>
                <a:cubicBezTo>
                  <a:pt x="1272476" y="354301"/>
                  <a:pt x="1236545" y="390714"/>
                  <a:pt x="1206337" y="386034"/>
                </a:cubicBezTo>
                <a:cubicBezTo>
                  <a:pt x="1018204" y="391331"/>
                  <a:pt x="872347" y="408582"/>
                  <a:pt x="635339" y="386034"/>
                </a:cubicBezTo>
                <a:cubicBezTo>
                  <a:pt x="398331" y="363486"/>
                  <a:pt x="230275" y="367458"/>
                  <a:pt x="64340" y="386034"/>
                </a:cubicBezTo>
                <a:cubicBezTo>
                  <a:pt x="21150" y="385596"/>
                  <a:pt x="2276" y="350987"/>
                  <a:pt x="0" y="321694"/>
                </a:cubicBezTo>
                <a:cubicBezTo>
                  <a:pt x="3363" y="261429"/>
                  <a:pt x="10077" y="168251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8098358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2FC9430-89FA-B6F5-FF73-09BF4CD95552}"/>
              </a:ext>
            </a:extLst>
          </p:cNvPr>
          <p:cNvSpPr txBox="1">
            <a:spLocks/>
          </p:cNvSpPr>
          <p:nvPr/>
        </p:nvSpPr>
        <p:spPr>
          <a:xfrm>
            <a:off x="4398363" y="4349404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Key Principles</a:t>
            </a:r>
          </a:p>
          <a:p>
            <a:pPr>
              <a:buFontTx/>
              <a:buChar char="-"/>
            </a:pPr>
            <a:r>
              <a:rPr lang="en-US" sz="1600" dirty="0"/>
              <a:t>Source Control</a:t>
            </a:r>
          </a:p>
          <a:p>
            <a:pPr>
              <a:buFontTx/>
              <a:buChar char="-"/>
            </a:pPr>
            <a:r>
              <a:rPr lang="en-US" sz="1600" dirty="0"/>
              <a:t>Modularization and versioning</a:t>
            </a:r>
          </a:p>
          <a:p>
            <a:pPr>
              <a:buFontTx/>
              <a:buChar char="-"/>
            </a:pPr>
            <a:r>
              <a:rPr lang="en-US" sz="1600" dirty="0"/>
              <a:t>Idempotency</a:t>
            </a:r>
          </a:p>
          <a:p>
            <a:pPr>
              <a:buFontTx/>
              <a:buChar char="-"/>
            </a:pPr>
            <a:r>
              <a:rPr lang="en-US" sz="1600" dirty="0"/>
              <a:t>Immutability</a:t>
            </a:r>
          </a:p>
          <a:p>
            <a:pPr>
              <a:buFontTx/>
              <a:buChar char="-"/>
            </a:pPr>
            <a:r>
              <a:rPr lang="en-US" sz="1600" dirty="0"/>
              <a:t>CICD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8952275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9806192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FFC8AE4-5582-19C0-DED3-63D8270B8571}"/>
              </a:ext>
            </a:extLst>
          </p:cNvPr>
          <p:cNvGrpSpPr/>
          <p:nvPr/>
        </p:nvGrpSpPr>
        <p:grpSpPr>
          <a:xfrm>
            <a:off x="5075020" y="2636981"/>
            <a:ext cx="1491970" cy="1694291"/>
            <a:chOff x="3591201" y="2800773"/>
            <a:chExt cx="887513" cy="946980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804CD20B-D34E-E250-FE43-7F9A981600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>
              <a:extLst>
                <a:ext uri="{FF2B5EF4-FFF2-40B4-BE49-F238E27FC236}">
                  <a16:creationId xmlns:a16="http://schemas.microsoft.com/office/drawing/2014/main" id="{589B69B8-B088-4632-7BDA-773B26D65C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5E82655F-7EC7-C105-EAA2-389E5E131E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24EF291-C501-D101-0029-071EE9043CF4}"/>
              </a:ext>
            </a:extLst>
          </p:cNvPr>
          <p:cNvSpPr/>
          <p:nvPr/>
        </p:nvSpPr>
        <p:spPr>
          <a:xfrm>
            <a:off x="4187983" y="2655113"/>
            <a:ext cx="3083058" cy="3540825"/>
          </a:xfrm>
          <a:custGeom>
            <a:avLst/>
            <a:gdLst>
              <a:gd name="connsiteX0" fmla="*/ 0 w 3083058"/>
              <a:gd name="connsiteY0" fmla="*/ 513853 h 3540825"/>
              <a:gd name="connsiteX1" fmla="*/ 513853 w 3083058"/>
              <a:gd name="connsiteY1" fmla="*/ 0 h 3540825"/>
              <a:gd name="connsiteX2" fmla="*/ 1068798 w 3083058"/>
              <a:gd name="connsiteY2" fmla="*/ 0 h 3540825"/>
              <a:gd name="connsiteX3" fmla="*/ 1562083 w 3083058"/>
              <a:gd name="connsiteY3" fmla="*/ 0 h 3540825"/>
              <a:gd name="connsiteX4" fmla="*/ 2034813 w 3083058"/>
              <a:gd name="connsiteY4" fmla="*/ 0 h 3540825"/>
              <a:gd name="connsiteX5" fmla="*/ 2569205 w 3083058"/>
              <a:gd name="connsiteY5" fmla="*/ 0 h 3540825"/>
              <a:gd name="connsiteX6" fmla="*/ 3083058 w 3083058"/>
              <a:gd name="connsiteY6" fmla="*/ 513853 h 3540825"/>
              <a:gd name="connsiteX7" fmla="*/ 3083058 w 3083058"/>
              <a:gd name="connsiteY7" fmla="*/ 1016477 h 3540825"/>
              <a:gd name="connsiteX8" fmla="*/ 3083058 w 3083058"/>
              <a:gd name="connsiteY8" fmla="*/ 1569363 h 3540825"/>
              <a:gd name="connsiteX9" fmla="*/ 3083058 w 3083058"/>
              <a:gd name="connsiteY9" fmla="*/ 1996593 h 3540825"/>
              <a:gd name="connsiteX10" fmla="*/ 3083058 w 3083058"/>
              <a:gd name="connsiteY10" fmla="*/ 2499217 h 3540825"/>
              <a:gd name="connsiteX11" fmla="*/ 3083058 w 3083058"/>
              <a:gd name="connsiteY11" fmla="*/ 3026972 h 3540825"/>
              <a:gd name="connsiteX12" fmla="*/ 2569205 w 3083058"/>
              <a:gd name="connsiteY12" fmla="*/ 3540825 h 3540825"/>
              <a:gd name="connsiteX13" fmla="*/ 2055367 w 3083058"/>
              <a:gd name="connsiteY13" fmla="*/ 3540825 h 3540825"/>
              <a:gd name="connsiteX14" fmla="*/ 1582636 w 3083058"/>
              <a:gd name="connsiteY14" fmla="*/ 3540825 h 3540825"/>
              <a:gd name="connsiteX15" fmla="*/ 1068798 w 3083058"/>
              <a:gd name="connsiteY15" fmla="*/ 3540825 h 3540825"/>
              <a:gd name="connsiteX16" fmla="*/ 513853 w 3083058"/>
              <a:gd name="connsiteY16" fmla="*/ 3540825 h 3540825"/>
              <a:gd name="connsiteX17" fmla="*/ 0 w 3083058"/>
              <a:gd name="connsiteY17" fmla="*/ 3026972 h 3540825"/>
              <a:gd name="connsiteX18" fmla="*/ 0 w 3083058"/>
              <a:gd name="connsiteY18" fmla="*/ 2599742 h 3540825"/>
              <a:gd name="connsiteX19" fmla="*/ 0 w 3083058"/>
              <a:gd name="connsiteY19" fmla="*/ 2046856 h 3540825"/>
              <a:gd name="connsiteX20" fmla="*/ 0 w 3083058"/>
              <a:gd name="connsiteY20" fmla="*/ 1544232 h 3540825"/>
              <a:gd name="connsiteX21" fmla="*/ 0 w 3083058"/>
              <a:gd name="connsiteY21" fmla="*/ 1091870 h 3540825"/>
              <a:gd name="connsiteX22" fmla="*/ 0 w 3083058"/>
              <a:gd name="connsiteY22" fmla="*/ 513853 h 354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083058" h="3540825" extrusionOk="0">
                <a:moveTo>
                  <a:pt x="0" y="513853"/>
                </a:moveTo>
                <a:cubicBezTo>
                  <a:pt x="-63821" y="190694"/>
                  <a:pt x="187314" y="16043"/>
                  <a:pt x="513853" y="0"/>
                </a:cubicBezTo>
                <a:cubicBezTo>
                  <a:pt x="713129" y="-14821"/>
                  <a:pt x="869427" y="28123"/>
                  <a:pt x="1068798" y="0"/>
                </a:cubicBezTo>
                <a:cubicBezTo>
                  <a:pt x="1268169" y="-28123"/>
                  <a:pt x="1317565" y="57900"/>
                  <a:pt x="1562083" y="0"/>
                </a:cubicBezTo>
                <a:cubicBezTo>
                  <a:pt x="1806601" y="-57900"/>
                  <a:pt x="1851761" y="11437"/>
                  <a:pt x="2034813" y="0"/>
                </a:cubicBezTo>
                <a:cubicBezTo>
                  <a:pt x="2217865" y="-11437"/>
                  <a:pt x="2452544" y="48083"/>
                  <a:pt x="2569205" y="0"/>
                </a:cubicBezTo>
                <a:cubicBezTo>
                  <a:pt x="2873950" y="-43120"/>
                  <a:pt x="3066959" y="227595"/>
                  <a:pt x="3083058" y="513853"/>
                </a:cubicBezTo>
                <a:cubicBezTo>
                  <a:pt x="3084645" y="647007"/>
                  <a:pt x="3071786" y="798711"/>
                  <a:pt x="3083058" y="1016477"/>
                </a:cubicBezTo>
                <a:cubicBezTo>
                  <a:pt x="3094330" y="1234243"/>
                  <a:pt x="3034871" y="1414205"/>
                  <a:pt x="3083058" y="1569363"/>
                </a:cubicBezTo>
                <a:cubicBezTo>
                  <a:pt x="3131245" y="1724521"/>
                  <a:pt x="3040623" y="1860339"/>
                  <a:pt x="3083058" y="1996593"/>
                </a:cubicBezTo>
                <a:cubicBezTo>
                  <a:pt x="3125493" y="2132847"/>
                  <a:pt x="3073548" y="2354671"/>
                  <a:pt x="3083058" y="2499217"/>
                </a:cubicBezTo>
                <a:cubicBezTo>
                  <a:pt x="3092568" y="2643763"/>
                  <a:pt x="3046948" y="2798149"/>
                  <a:pt x="3083058" y="3026972"/>
                </a:cubicBezTo>
                <a:cubicBezTo>
                  <a:pt x="3128088" y="3266268"/>
                  <a:pt x="2908958" y="3504742"/>
                  <a:pt x="2569205" y="3540825"/>
                </a:cubicBezTo>
                <a:cubicBezTo>
                  <a:pt x="2439243" y="3581174"/>
                  <a:pt x="2174681" y="3489289"/>
                  <a:pt x="2055367" y="3540825"/>
                </a:cubicBezTo>
                <a:cubicBezTo>
                  <a:pt x="1936053" y="3592361"/>
                  <a:pt x="1730368" y="3534225"/>
                  <a:pt x="1582636" y="3540825"/>
                </a:cubicBezTo>
                <a:cubicBezTo>
                  <a:pt x="1434904" y="3547425"/>
                  <a:pt x="1224339" y="3521937"/>
                  <a:pt x="1068798" y="3540825"/>
                </a:cubicBezTo>
                <a:cubicBezTo>
                  <a:pt x="913257" y="3559713"/>
                  <a:pt x="735699" y="3485737"/>
                  <a:pt x="513853" y="3540825"/>
                </a:cubicBezTo>
                <a:cubicBezTo>
                  <a:pt x="219566" y="3509258"/>
                  <a:pt x="76651" y="3295193"/>
                  <a:pt x="0" y="3026972"/>
                </a:cubicBezTo>
                <a:cubicBezTo>
                  <a:pt x="-33977" y="2891023"/>
                  <a:pt x="13887" y="2801848"/>
                  <a:pt x="0" y="2599742"/>
                </a:cubicBezTo>
                <a:cubicBezTo>
                  <a:pt x="-13887" y="2397636"/>
                  <a:pt x="41711" y="2235790"/>
                  <a:pt x="0" y="2046856"/>
                </a:cubicBezTo>
                <a:cubicBezTo>
                  <a:pt x="-41711" y="1857922"/>
                  <a:pt x="34097" y="1747840"/>
                  <a:pt x="0" y="1544232"/>
                </a:cubicBezTo>
                <a:cubicBezTo>
                  <a:pt x="-34097" y="1340624"/>
                  <a:pt x="25886" y="1240929"/>
                  <a:pt x="0" y="1091870"/>
                </a:cubicBezTo>
                <a:cubicBezTo>
                  <a:pt x="-25886" y="942811"/>
                  <a:pt x="64959" y="742895"/>
                  <a:pt x="0" y="513853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83639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ángulo 6175">
            <a:extLst>
              <a:ext uri="{FF2B5EF4-FFF2-40B4-BE49-F238E27FC236}">
                <a16:creationId xmlns:a16="http://schemas.microsoft.com/office/drawing/2014/main" id="{8BB652F3-E70C-41B2-B1D6-C632507D4D77}"/>
              </a:ext>
            </a:extLst>
          </p:cNvPr>
          <p:cNvSpPr/>
          <p:nvPr/>
        </p:nvSpPr>
        <p:spPr>
          <a:xfrm>
            <a:off x="0" y="-17273"/>
            <a:ext cx="12214702" cy="3442643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white machine made of legos&#10;&#10;Description automatically generated">
            <a:extLst>
              <a:ext uri="{FF2B5EF4-FFF2-40B4-BE49-F238E27FC236}">
                <a16:creationId xmlns:a16="http://schemas.microsoft.com/office/drawing/2014/main" id="{015C3AFA-190E-0DCE-C174-6195E6DEE98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971"/>
            <a:ext cx="12192000" cy="685800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9E073D2-D02C-4602-90E7-2FBE431ADC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9E073D2-D02C-4602-90E7-2FBE431ADC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redondeado 14">
            <a:extLst>
              <a:ext uri="{FF2B5EF4-FFF2-40B4-BE49-F238E27FC236}">
                <a16:creationId xmlns:a16="http://schemas.microsoft.com/office/drawing/2014/main" id="{C7143A2C-3F85-47CD-9E2B-97A348E51562}"/>
              </a:ext>
            </a:extLst>
          </p:cNvPr>
          <p:cNvSpPr/>
          <p:nvPr/>
        </p:nvSpPr>
        <p:spPr>
          <a:xfrm>
            <a:off x="862078" y="469489"/>
            <a:ext cx="10523889" cy="5395636"/>
          </a:xfrm>
          <a:prstGeom prst="roundRect">
            <a:avLst>
              <a:gd name="adj" fmla="val 2826"/>
            </a:avLst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ángulo redondeado 14">
            <a:extLst>
              <a:ext uri="{FF2B5EF4-FFF2-40B4-BE49-F238E27FC236}">
                <a16:creationId xmlns:a16="http://schemas.microsoft.com/office/drawing/2014/main" id="{69FEE036-62FB-4E7F-8B1D-B1654A4735D8}"/>
              </a:ext>
            </a:extLst>
          </p:cNvPr>
          <p:cNvSpPr/>
          <p:nvPr/>
        </p:nvSpPr>
        <p:spPr>
          <a:xfrm>
            <a:off x="6460791" y="792843"/>
            <a:ext cx="4572268" cy="4385889"/>
          </a:xfrm>
          <a:prstGeom prst="roundRect">
            <a:avLst>
              <a:gd name="adj" fmla="val 2826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56144E1-FF2D-4715-8657-21CDEE3ECD1E}"/>
              </a:ext>
            </a:extLst>
          </p:cNvPr>
          <p:cNvCxnSpPr>
            <a:cxnSpLocks/>
          </p:cNvCxnSpPr>
          <p:nvPr/>
        </p:nvCxnSpPr>
        <p:spPr>
          <a:xfrm>
            <a:off x="6487094" y="2187087"/>
            <a:ext cx="43434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ángulo redondeado 14">
            <a:extLst>
              <a:ext uri="{FF2B5EF4-FFF2-40B4-BE49-F238E27FC236}">
                <a16:creationId xmlns:a16="http://schemas.microsoft.com/office/drawing/2014/main" id="{9565BB47-835A-4FD4-B946-9DD07A6DBC9E}"/>
              </a:ext>
            </a:extLst>
          </p:cNvPr>
          <p:cNvSpPr/>
          <p:nvPr/>
        </p:nvSpPr>
        <p:spPr>
          <a:xfrm>
            <a:off x="6016819" y="4935544"/>
            <a:ext cx="5919542" cy="176022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ángulo 12">
            <a:extLst>
              <a:ext uri="{FF2B5EF4-FFF2-40B4-BE49-F238E27FC236}">
                <a16:creationId xmlns:a16="http://schemas.microsoft.com/office/drawing/2014/main" id="{77DA9832-58B0-4DB8-8B68-08B4705894D6}"/>
              </a:ext>
            </a:extLst>
          </p:cNvPr>
          <p:cNvSpPr/>
          <p:nvPr/>
        </p:nvSpPr>
        <p:spPr>
          <a:xfrm>
            <a:off x="6940568" y="2187087"/>
            <a:ext cx="3723417" cy="2554545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pPr algn="ctr"/>
            <a:r>
              <a:rPr lang="en-US" sz="8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THANK</a:t>
            </a:r>
            <a:endParaRPr lang="en-US" sz="7200" b="1" dirty="0">
              <a:solidFill>
                <a:schemeClr val="tx1">
                  <a:lumMod val="95000"/>
                  <a:lumOff val="5000"/>
                </a:schemeClr>
              </a:solidFill>
              <a:latin typeface="Segoe UI" panose="020B0502040204020203" pitchFamily="34" charset="0"/>
              <a:ea typeface="Source Sans Pro Semibold" panose="020B0603030403020204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8000" b="1" dirty="0">
                <a:solidFill>
                  <a:srgbClr val="D01012"/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YOU! </a:t>
            </a:r>
            <a:endParaRPr lang="en-US" sz="8000" b="1" dirty="0">
              <a:solidFill>
                <a:srgbClr val="D01012"/>
              </a:solidFill>
              <a:latin typeface="Segoe UI" panose="020B0502040204020203" pitchFamily="34" charset="0"/>
              <a:ea typeface="Source Sans Pro Black" panose="020B0803030403020204" pitchFamily="34" charset="0"/>
              <a:cs typeface="Segoe UI" panose="020B0502040204020203" pitchFamily="34" charset="0"/>
            </a:endParaRPr>
          </a:p>
        </p:txBody>
      </p:sp>
      <p:pic>
        <p:nvPicPr>
          <p:cNvPr id="7170" name="Picture 2" descr="Unsere Partner | sensatus GmbH">
            <a:extLst>
              <a:ext uri="{FF2B5EF4-FFF2-40B4-BE49-F238E27FC236}">
                <a16:creationId xmlns:a16="http://schemas.microsoft.com/office/drawing/2014/main" id="{3F767317-20A8-8296-699C-0DA70107B2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3131" y="674901"/>
            <a:ext cx="3819898" cy="1994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 descr="A group of colorful squares&#10;&#10;Description automatically generated">
            <a:extLst>
              <a:ext uri="{FF2B5EF4-FFF2-40B4-BE49-F238E27FC236}">
                <a16:creationId xmlns:a16="http://schemas.microsoft.com/office/drawing/2014/main" id="{41F330A1-262B-4171-30E6-559F660A3C1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6045" y="1235989"/>
            <a:ext cx="591736" cy="591736"/>
          </a:xfrm>
          <a:prstGeom prst="rect">
            <a:avLst/>
          </a:prstGeom>
        </p:spPr>
      </p:pic>
      <p:sp>
        <p:nvSpPr>
          <p:cNvPr id="34" name="Rectángulo 12">
            <a:extLst>
              <a:ext uri="{FF2B5EF4-FFF2-40B4-BE49-F238E27FC236}">
                <a16:creationId xmlns:a16="http://schemas.microsoft.com/office/drawing/2014/main" id="{0D3B918B-34A0-D351-D0FC-C18F18F619F2}"/>
              </a:ext>
            </a:extLst>
          </p:cNvPr>
          <p:cNvSpPr/>
          <p:nvPr/>
        </p:nvSpPr>
        <p:spPr>
          <a:xfrm>
            <a:off x="6887988" y="1074467"/>
            <a:ext cx="4338014" cy="830997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pPr algn="ctr"/>
            <a:r>
              <a:rPr lang="en-US" sz="4800" b="1" dirty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Sponsors </a:t>
            </a:r>
            <a:endParaRPr lang="en-US" sz="4800" b="1" dirty="0">
              <a:solidFill>
                <a:schemeClr val="bg1">
                  <a:lumMod val="65000"/>
                </a:schemeClr>
              </a:solidFill>
              <a:latin typeface="Segoe UI" panose="020B0502040204020203" pitchFamily="34" charset="0"/>
              <a:ea typeface="Source Sans Pro Black" panose="020B0803030403020204" pitchFamily="34" charset="0"/>
              <a:cs typeface="Segoe UI" panose="020B0502040204020203" pitchFamily="34" charset="0"/>
            </a:endParaRPr>
          </a:p>
        </p:txBody>
      </p:sp>
      <p:sp>
        <p:nvSpPr>
          <p:cNvPr id="4" name="Rectángulo redondeado 14">
            <a:extLst>
              <a:ext uri="{FF2B5EF4-FFF2-40B4-BE49-F238E27FC236}">
                <a16:creationId xmlns:a16="http://schemas.microsoft.com/office/drawing/2014/main" id="{BCAE964C-8DC6-45B7-51CB-BB702A95891F}"/>
              </a:ext>
            </a:extLst>
          </p:cNvPr>
          <p:cNvSpPr/>
          <p:nvPr/>
        </p:nvSpPr>
        <p:spPr>
          <a:xfrm>
            <a:off x="6175182" y="5046302"/>
            <a:ext cx="5592534" cy="1503143"/>
          </a:xfrm>
          <a:prstGeom prst="roundRect">
            <a:avLst>
              <a:gd name="adj" fmla="val 50000"/>
            </a:avLst>
          </a:prstGeom>
          <a:solidFill>
            <a:srgbClr val="E412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673E9516-2ADD-9E26-06F4-93ECCF203030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854" t="27574" r="8854" b="36443"/>
          <a:stretch/>
        </p:blipFill>
        <p:spPr>
          <a:xfrm>
            <a:off x="6175182" y="5039844"/>
            <a:ext cx="5069888" cy="149049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CA06282-06C3-74D6-F3B3-75DF59347A5F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68084"/>
          <a:stretch/>
        </p:blipFill>
        <p:spPr>
          <a:xfrm>
            <a:off x="1868478" y="5046471"/>
            <a:ext cx="739172" cy="57642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85AF7C9-BF10-8C53-7008-3C7A83FBD0D7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32610"/>
          <a:stretch/>
        </p:blipFill>
        <p:spPr>
          <a:xfrm>
            <a:off x="2787875" y="4860983"/>
            <a:ext cx="2657652" cy="98154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80497A61-4D2D-AD3B-B13D-F748A743A8D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1133" y="5201332"/>
            <a:ext cx="878993" cy="878993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F100AECD-2D7E-2957-1303-41E5A2D2F9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8083" y="2779256"/>
            <a:ext cx="3876675" cy="1181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E99112DE-3DEB-C6A7-D51C-2FF1E42F08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894" y="4054126"/>
            <a:ext cx="3524715" cy="772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9" descr="A blue toy with a yellow face&#10;&#10;Description automatically generated">
            <a:extLst>
              <a:ext uri="{FF2B5EF4-FFF2-40B4-BE49-F238E27FC236}">
                <a16:creationId xmlns:a16="http://schemas.microsoft.com/office/drawing/2014/main" id="{DFAC41A4-E8CF-E5F1-6591-455EBD4D2EF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0279" y="2670969"/>
            <a:ext cx="1941179" cy="4564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776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76211445-598A-3D65-B13F-C77C48DD25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id="{16286F52-393A-56B8-9D59-8DF52C2CAA1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86677854"/>
              </p:ext>
            </p:extLst>
          </p:nvPr>
        </p:nvGraphicFramePr>
        <p:xfrm>
          <a:off x="563563" y="1825625"/>
          <a:ext cx="11064875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00F02-28BF-CF4E-60A0-B60985FC6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D726C135-4F9E-3469-FEDF-3180B1451DAF}"/>
              </a:ext>
            </a:extLst>
          </p:cNvPr>
          <p:cNvSpPr/>
          <p:nvPr/>
        </p:nvSpPr>
        <p:spPr>
          <a:xfrm>
            <a:off x="207122" y="215979"/>
            <a:ext cx="9841445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10A6EFB4-EB70-F5E7-71F2-602F7ADFAED0}"/>
              </a:ext>
            </a:extLst>
          </p:cNvPr>
          <p:cNvSpPr/>
          <p:nvPr/>
        </p:nvSpPr>
        <p:spPr>
          <a:xfrm>
            <a:off x="1184596" y="396696"/>
            <a:ext cx="6907351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Agenda</a:t>
            </a:r>
          </a:p>
        </p:txBody>
      </p:sp>
      <p:pic>
        <p:nvPicPr>
          <p:cNvPr id="18" name="Picture 17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C63C3A1F-2DC8-4C17-D1C2-A0A3AB68E0AA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948" b="33033"/>
          <a:stretch/>
        </p:blipFill>
        <p:spPr>
          <a:xfrm>
            <a:off x="10169526" y="570271"/>
            <a:ext cx="1701585" cy="595866"/>
          </a:xfrm>
          <a:prstGeom prst="rect">
            <a:avLst/>
          </a:prstGeom>
        </p:spPr>
      </p:pic>
      <p:pic>
        <p:nvPicPr>
          <p:cNvPr id="12" name="Picture 11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46CDE0A9-8289-2401-EED3-4A7A169BD77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0566" y="2308763"/>
            <a:ext cx="1002185" cy="1002185"/>
          </a:xfrm>
          <a:prstGeom prst="rect">
            <a:avLst/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8C2D5996-3B9C-5C0A-3E22-785B111BDDDE}"/>
              </a:ext>
            </a:extLst>
          </p:cNvPr>
          <p:cNvGrpSpPr/>
          <p:nvPr/>
        </p:nvGrpSpPr>
        <p:grpSpPr>
          <a:xfrm>
            <a:off x="455973" y="521423"/>
            <a:ext cx="603235" cy="603235"/>
            <a:chOff x="-94496" y="1430104"/>
            <a:chExt cx="603235" cy="603235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6E775A1-4B8E-07F7-4E98-5DCED5B03C52}"/>
                </a:ext>
              </a:extLst>
            </p:cNvPr>
            <p:cNvSpPr/>
            <p:nvPr/>
          </p:nvSpPr>
          <p:spPr>
            <a:xfrm>
              <a:off x="-94496" y="1430104"/>
              <a:ext cx="603235" cy="603235"/>
            </a:xfrm>
            <a:prstGeom prst="ellipse">
              <a:avLst/>
            </a:prstGeom>
            <a:solidFill>
              <a:srgbClr val="FFD100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450915E9-3C95-311B-BFC4-43F8C1D6A9AA}"/>
                </a:ext>
              </a:extLst>
            </p:cNvPr>
            <p:cNvGrpSpPr/>
            <p:nvPr/>
          </p:nvGrpSpPr>
          <p:grpSpPr>
            <a:xfrm>
              <a:off x="77236" y="1601835"/>
              <a:ext cx="259771" cy="259772"/>
              <a:chOff x="6773863" y="639763"/>
              <a:chExt cx="771525" cy="771526"/>
            </a:xfrm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20" name="Freeform 54">
                <a:extLst>
                  <a:ext uri="{FF2B5EF4-FFF2-40B4-BE49-F238E27FC236}">
                    <a16:creationId xmlns:a16="http://schemas.microsoft.com/office/drawing/2014/main" id="{C87E9EF9-D2AC-BBA2-8F3F-627DAFEA43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3863" y="684213"/>
                <a:ext cx="771525" cy="147638"/>
              </a:xfrm>
              <a:custGeom>
                <a:avLst/>
                <a:gdLst>
                  <a:gd name="T0" fmla="*/ 204 w 204"/>
                  <a:gd name="T1" fmla="*/ 39 h 39"/>
                  <a:gd name="T2" fmla="*/ 0 w 204"/>
                  <a:gd name="T3" fmla="*/ 39 h 39"/>
                  <a:gd name="T4" fmla="*/ 0 w 204"/>
                  <a:gd name="T5" fmla="*/ 20 h 39"/>
                  <a:gd name="T6" fmla="*/ 19 w 204"/>
                  <a:gd name="T7" fmla="*/ 0 h 39"/>
                  <a:gd name="T8" fmla="*/ 185 w 204"/>
                  <a:gd name="T9" fmla="*/ 0 h 39"/>
                  <a:gd name="T10" fmla="*/ 204 w 204"/>
                  <a:gd name="T11" fmla="*/ 20 h 39"/>
                  <a:gd name="T12" fmla="*/ 204 w 204"/>
                  <a:gd name="T13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39">
                    <a:moveTo>
                      <a:pt x="204" y="39"/>
                    </a:moveTo>
                    <a:cubicBezTo>
                      <a:pt x="0" y="39"/>
                      <a:pt x="0" y="39"/>
                      <a:pt x="0" y="39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8" y="0"/>
                      <a:pt x="19" y="0"/>
                    </a:cubicBezTo>
                    <a:cubicBezTo>
                      <a:pt x="185" y="0"/>
                      <a:pt x="185" y="0"/>
                      <a:pt x="185" y="0"/>
                    </a:cubicBezTo>
                    <a:cubicBezTo>
                      <a:pt x="196" y="0"/>
                      <a:pt x="204" y="9"/>
                      <a:pt x="204" y="20"/>
                    </a:cubicBezTo>
                    <a:lnTo>
                      <a:pt x="204" y="39"/>
                    </a:ln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1" name="Freeform 55">
                <a:extLst>
                  <a:ext uri="{FF2B5EF4-FFF2-40B4-BE49-F238E27FC236}">
                    <a16:creationId xmlns:a16="http://schemas.microsoft.com/office/drawing/2014/main" id="{7E563941-AEF1-263A-29F9-4BD83D62DF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3863" y="684213"/>
                <a:ext cx="355600" cy="147638"/>
              </a:xfrm>
              <a:custGeom>
                <a:avLst/>
                <a:gdLst>
                  <a:gd name="T0" fmla="*/ 94 w 94"/>
                  <a:gd name="T1" fmla="*/ 0 h 39"/>
                  <a:gd name="T2" fmla="*/ 19 w 94"/>
                  <a:gd name="T3" fmla="*/ 0 h 39"/>
                  <a:gd name="T4" fmla="*/ 0 w 94"/>
                  <a:gd name="T5" fmla="*/ 20 h 39"/>
                  <a:gd name="T6" fmla="*/ 0 w 94"/>
                  <a:gd name="T7" fmla="*/ 39 h 39"/>
                  <a:gd name="T8" fmla="*/ 55 w 94"/>
                  <a:gd name="T9" fmla="*/ 39 h 39"/>
                  <a:gd name="T10" fmla="*/ 94 w 94"/>
                  <a:gd name="T11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4" h="39">
                    <a:moveTo>
                      <a:pt x="94" y="0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8" y="0"/>
                      <a:pt x="0" y="9"/>
                      <a:pt x="0" y="20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55" y="39"/>
                      <a:pt x="55" y="39"/>
                      <a:pt x="55" y="39"/>
                    </a:cubicBezTo>
                    <a:lnTo>
                      <a:pt x="94" y="0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2" name="Freeform 56">
                <a:extLst>
                  <a:ext uri="{FF2B5EF4-FFF2-40B4-BE49-F238E27FC236}">
                    <a16:creationId xmlns:a16="http://schemas.microsoft.com/office/drawing/2014/main" id="{97B7D2A6-F712-93C4-A396-6C6897C36A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3863" y="831851"/>
                <a:ext cx="771525" cy="579438"/>
              </a:xfrm>
              <a:custGeom>
                <a:avLst/>
                <a:gdLst>
                  <a:gd name="T0" fmla="*/ 204 w 204"/>
                  <a:gd name="T1" fmla="*/ 134 h 153"/>
                  <a:gd name="T2" fmla="*/ 185 w 204"/>
                  <a:gd name="T3" fmla="*/ 153 h 153"/>
                  <a:gd name="T4" fmla="*/ 19 w 204"/>
                  <a:gd name="T5" fmla="*/ 153 h 153"/>
                  <a:gd name="T6" fmla="*/ 0 w 204"/>
                  <a:gd name="T7" fmla="*/ 134 h 153"/>
                  <a:gd name="T8" fmla="*/ 0 w 204"/>
                  <a:gd name="T9" fmla="*/ 0 h 153"/>
                  <a:gd name="T10" fmla="*/ 204 w 204"/>
                  <a:gd name="T11" fmla="*/ 0 h 153"/>
                  <a:gd name="T12" fmla="*/ 204 w 204"/>
                  <a:gd name="T13" fmla="*/ 134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53">
                    <a:moveTo>
                      <a:pt x="204" y="134"/>
                    </a:moveTo>
                    <a:cubicBezTo>
                      <a:pt x="204" y="145"/>
                      <a:pt x="196" y="153"/>
                      <a:pt x="185" y="153"/>
                    </a:cubicBezTo>
                    <a:cubicBezTo>
                      <a:pt x="19" y="153"/>
                      <a:pt x="19" y="153"/>
                      <a:pt x="19" y="153"/>
                    </a:cubicBezTo>
                    <a:cubicBezTo>
                      <a:pt x="8" y="153"/>
                      <a:pt x="0" y="145"/>
                      <a:pt x="0" y="13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04" y="0"/>
                      <a:pt x="204" y="0"/>
                      <a:pt x="204" y="0"/>
                    </a:cubicBezTo>
                    <a:lnTo>
                      <a:pt x="204" y="1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3" name="Rectangle 57">
                <a:extLst>
                  <a:ext uri="{FF2B5EF4-FFF2-40B4-BE49-F238E27FC236}">
                    <a16:creationId xmlns:a16="http://schemas.microsoft.com/office/drawing/2014/main" id="{9AAB2837-0538-4CA8-7281-362CD01B3E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38976" y="927101"/>
                <a:ext cx="120650" cy="109538"/>
              </a:xfrm>
              <a:prstGeom prst="rect">
                <a:avLst/>
              </a:prstGeom>
              <a:solidFill>
                <a:srgbClr val="40C9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4" name="Rectangle 58">
                <a:extLst>
                  <a:ext uri="{FF2B5EF4-FFF2-40B4-BE49-F238E27FC236}">
                    <a16:creationId xmlns:a16="http://schemas.microsoft.com/office/drawing/2014/main" id="{E554DD74-B78B-FB28-F57B-11C7275B07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27863" y="1063626"/>
                <a:ext cx="120650" cy="104775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" name="Rectangle 59">
                <a:extLst>
                  <a:ext uri="{FF2B5EF4-FFF2-40B4-BE49-F238E27FC236}">
                    <a16:creationId xmlns:a16="http://schemas.microsoft.com/office/drawing/2014/main" id="{5472C4A9-3314-DEF2-7678-C15121211B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0738" y="1063626"/>
                <a:ext cx="122238" cy="104775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6" name="Rectangle 60">
                <a:extLst>
                  <a:ext uri="{FF2B5EF4-FFF2-40B4-BE49-F238E27FC236}">
                    <a16:creationId xmlns:a16="http://schemas.microsoft.com/office/drawing/2014/main" id="{A8B23927-3E0C-BA90-3B85-9DC543F031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69113" y="927101"/>
                <a:ext cx="131763" cy="109538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7" name="Rectangle 61">
                <a:extLst>
                  <a:ext uri="{FF2B5EF4-FFF2-40B4-BE49-F238E27FC236}">
                    <a16:creationId xmlns:a16="http://schemas.microsoft.com/office/drawing/2014/main" id="{E8C34FE9-9932-4526-AB09-8642334A0E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0738" y="927101"/>
                <a:ext cx="122238" cy="109538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8" name="Rectangle 62">
                <a:extLst>
                  <a:ext uri="{FF2B5EF4-FFF2-40B4-BE49-F238E27FC236}">
                    <a16:creationId xmlns:a16="http://schemas.microsoft.com/office/drawing/2014/main" id="{72049148-93AD-E35E-29F8-793A216AF9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0738" y="1195388"/>
                <a:ext cx="122238" cy="120650"/>
              </a:xfrm>
              <a:prstGeom prst="rect">
                <a:avLst/>
              </a:prstGeom>
              <a:solidFill>
                <a:srgbClr val="40C9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9" name="Rectangle 63">
                <a:extLst>
                  <a:ext uri="{FF2B5EF4-FFF2-40B4-BE49-F238E27FC236}">
                    <a16:creationId xmlns:a16="http://schemas.microsoft.com/office/drawing/2014/main" id="{A2DACD6A-9953-7E8C-B27A-C43A9A68F3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18376" y="1063626"/>
                <a:ext cx="120650" cy="104775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0" name="Rectangle 64">
                <a:extLst>
                  <a:ext uri="{FF2B5EF4-FFF2-40B4-BE49-F238E27FC236}">
                    <a16:creationId xmlns:a16="http://schemas.microsoft.com/office/drawing/2014/main" id="{9AB09F63-EEA3-6C18-FE5C-B01E5B8E67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18376" y="927101"/>
                <a:ext cx="120650" cy="109538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1" name="Rectangle 65">
                <a:extLst>
                  <a:ext uri="{FF2B5EF4-FFF2-40B4-BE49-F238E27FC236}">
                    <a16:creationId xmlns:a16="http://schemas.microsoft.com/office/drawing/2014/main" id="{1C717480-1896-E268-B2FE-918018F16C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18376" y="1195388"/>
                <a:ext cx="120650" cy="120650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2" name="Rectangle 66">
                <a:extLst>
                  <a:ext uri="{FF2B5EF4-FFF2-40B4-BE49-F238E27FC236}">
                    <a16:creationId xmlns:a16="http://schemas.microsoft.com/office/drawing/2014/main" id="{3AF85582-ADA3-5AE1-12E3-D2DE399931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69113" y="1063626"/>
                <a:ext cx="131763" cy="104775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3" name="Rectangle 67">
                <a:extLst>
                  <a:ext uri="{FF2B5EF4-FFF2-40B4-BE49-F238E27FC236}">
                    <a16:creationId xmlns:a16="http://schemas.microsoft.com/office/drawing/2014/main" id="{7AA6BC08-875F-68CA-FBAA-4628E02CF5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69113" y="1195388"/>
                <a:ext cx="131763" cy="120650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4" name="Rectangle 68">
                <a:extLst>
                  <a:ext uri="{FF2B5EF4-FFF2-40B4-BE49-F238E27FC236}">
                    <a16:creationId xmlns:a16="http://schemas.microsoft.com/office/drawing/2014/main" id="{F6C51207-39C7-1B17-2E5B-B4A5BF5BEA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27863" y="1195388"/>
                <a:ext cx="120650" cy="120650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" name="Freeform 69">
                <a:extLst>
                  <a:ext uri="{FF2B5EF4-FFF2-40B4-BE49-F238E27FC236}">
                    <a16:creationId xmlns:a16="http://schemas.microsoft.com/office/drawing/2014/main" id="{DA631E0E-3EB6-3022-A547-27A8E9E081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69113" y="639763"/>
                <a:ext cx="71438" cy="142875"/>
              </a:xfrm>
              <a:custGeom>
                <a:avLst/>
                <a:gdLst>
                  <a:gd name="T0" fmla="*/ 19 w 19"/>
                  <a:gd name="T1" fmla="*/ 28 h 38"/>
                  <a:gd name="T2" fmla="*/ 10 w 19"/>
                  <a:gd name="T3" fmla="*/ 38 h 38"/>
                  <a:gd name="T4" fmla="*/ 0 w 19"/>
                  <a:gd name="T5" fmla="*/ 28 h 38"/>
                  <a:gd name="T6" fmla="*/ 0 w 19"/>
                  <a:gd name="T7" fmla="*/ 9 h 38"/>
                  <a:gd name="T8" fmla="*/ 10 w 19"/>
                  <a:gd name="T9" fmla="*/ 0 h 38"/>
                  <a:gd name="T10" fmla="*/ 19 w 19"/>
                  <a:gd name="T11" fmla="*/ 9 h 38"/>
                  <a:gd name="T12" fmla="*/ 19 w 19"/>
                  <a:gd name="T13" fmla="*/ 2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38">
                    <a:moveTo>
                      <a:pt x="19" y="28"/>
                    </a:moveTo>
                    <a:cubicBezTo>
                      <a:pt x="19" y="34"/>
                      <a:pt x="15" y="38"/>
                      <a:pt x="10" y="38"/>
                    </a:cubicBezTo>
                    <a:cubicBezTo>
                      <a:pt x="5" y="38"/>
                      <a:pt x="0" y="34"/>
                      <a:pt x="0" y="2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5" y="0"/>
                      <a:pt x="10" y="0"/>
                    </a:cubicBezTo>
                    <a:cubicBezTo>
                      <a:pt x="15" y="0"/>
                      <a:pt x="19" y="4"/>
                      <a:pt x="19" y="9"/>
                    </a:cubicBezTo>
                    <a:lnTo>
                      <a:pt x="19" y="28"/>
                    </a:ln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6" name="Freeform 70">
                <a:extLst>
                  <a:ext uri="{FF2B5EF4-FFF2-40B4-BE49-F238E27FC236}">
                    <a16:creationId xmlns:a16="http://schemas.microsoft.com/office/drawing/2014/main" id="{05369B66-5C24-D858-CD2B-1C1146DE37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78701" y="639763"/>
                <a:ext cx="73025" cy="142875"/>
              </a:xfrm>
              <a:custGeom>
                <a:avLst/>
                <a:gdLst>
                  <a:gd name="T0" fmla="*/ 19 w 19"/>
                  <a:gd name="T1" fmla="*/ 28 h 38"/>
                  <a:gd name="T2" fmla="*/ 9 w 19"/>
                  <a:gd name="T3" fmla="*/ 38 h 38"/>
                  <a:gd name="T4" fmla="*/ 0 w 19"/>
                  <a:gd name="T5" fmla="*/ 28 h 38"/>
                  <a:gd name="T6" fmla="*/ 0 w 19"/>
                  <a:gd name="T7" fmla="*/ 9 h 38"/>
                  <a:gd name="T8" fmla="*/ 9 w 19"/>
                  <a:gd name="T9" fmla="*/ 0 h 38"/>
                  <a:gd name="T10" fmla="*/ 19 w 19"/>
                  <a:gd name="T11" fmla="*/ 9 h 38"/>
                  <a:gd name="T12" fmla="*/ 19 w 19"/>
                  <a:gd name="T13" fmla="*/ 2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38">
                    <a:moveTo>
                      <a:pt x="19" y="28"/>
                    </a:moveTo>
                    <a:cubicBezTo>
                      <a:pt x="19" y="34"/>
                      <a:pt x="14" y="38"/>
                      <a:pt x="9" y="38"/>
                    </a:cubicBezTo>
                    <a:cubicBezTo>
                      <a:pt x="4" y="38"/>
                      <a:pt x="0" y="34"/>
                      <a:pt x="0" y="2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4" y="0"/>
                      <a:pt x="9" y="0"/>
                    </a:cubicBezTo>
                    <a:cubicBezTo>
                      <a:pt x="14" y="0"/>
                      <a:pt x="19" y="4"/>
                      <a:pt x="19" y="9"/>
                    </a:cubicBezTo>
                    <a:lnTo>
                      <a:pt x="19" y="28"/>
                    </a:ln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7" name="Freeform 71">
                <a:extLst>
                  <a:ext uri="{FF2B5EF4-FFF2-40B4-BE49-F238E27FC236}">
                    <a16:creationId xmlns:a16="http://schemas.microsoft.com/office/drawing/2014/main" id="{3994FAE4-6FCC-35BD-05A7-2DDC50DA0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1526" y="639763"/>
                <a:ext cx="76200" cy="142875"/>
              </a:xfrm>
              <a:custGeom>
                <a:avLst/>
                <a:gdLst>
                  <a:gd name="T0" fmla="*/ 20 w 20"/>
                  <a:gd name="T1" fmla="*/ 28 h 38"/>
                  <a:gd name="T2" fmla="*/ 10 w 20"/>
                  <a:gd name="T3" fmla="*/ 38 h 38"/>
                  <a:gd name="T4" fmla="*/ 0 w 20"/>
                  <a:gd name="T5" fmla="*/ 28 h 38"/>
                  <a:gd name="T6" fmla="*/ 0 w 20"/>
                  <a:gd name="T7" fmla="*/ 9 h 38"/>
                  <a:gd name="T8" fmla="*/ 10 w 20"/>
                  <a:gd name="T9" fmla="*/ 0 h 38"/>
                  <a:gd name="T10" fmla="*/ 20 w 20"/>
                  <a:gd name="T11" fmla="*/ 9 h 38"/>
                  <a:gd name="T12" fmla="*/ 20 w 20"/>
                  <a:gd name="T13" fmla="*/ 2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38">
                    <a:moveTo>
                      <a:pt x="20" y="28"/>
                    </a:moveTo>
                    <a:cubicBezTo>
                      <a:pt x="20" y="34"/>
                      <a:pt x="15" y="38"/>
                      <a:pt x="10" y="38"/>
                    </a:cubicBezTo>
                    <a:cubicBezTo>
                      <a:pt x="5" y="38"/>
                      <a:pt x="0" y="34"/>
                      <a:pt x="0" y="2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5" y="0"/>
                      <a:pt x="10" y="0"/>
                    </a:cubicBezTo>
                    <a:cubicBezTo>
                      <a:pt x="15" y="0"/>
                      <a:pt x="20" y="4"/>
                      <a:pt x="20" y="9"/>
                    </a:cubicBezTo>
                    <a:lnTo>
                      <a:pt x="20" y="28"/>
                    </a:ln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pic>
        <p:nvPicPr>
          <p:cNvPr id="3074" name="Picture 2">
            <a:extLst>
              <a:ext uri="{FF2B5EF4-FFF2-40B4-BE49-F238E27FC236}">
                <a16:creationId xmlns:a16="http://schemas.microsoft.com/office/drawing/2014/main" id="{4121E792-6E9C-7E3E-2924-F3B9F4387A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9287" y="2390755"/>
            <a:ext cx="733425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120" name="Group 3119">
            <a:extLst>
              <a:ext uri="{FF2B5EF4-FFF2-40B4-BE49-F238E27FC236}">
                <a16:creationId xmlns:a16="http://schemas.microsoft.com/office/drawing/2014/main" id="{E5B9C441-B93D-CA61-5CBA-D95F7A4B4517}"/>
              </a:ext>
            </a:extLst>
          </p:cNvPr>
          <p:cNvGrpSpPr/>
          <p:nvPr/>
        </p:nvGrpSpPr>
        <p:grpSpPr>
          <a:xfrm>
            <a:off x="9436101" y="2491316"/>
            <a:ext cx="781049" cy="676179"/>
            <a:chOff x="8168249" y="2156853"/>
            <a:chExt cx="2432218" cy="2007293"/>
          </a:xfrm>
        </p:grpSpPr>
        <p:grpSp>
          <p:nvGrpSpPr>
            <p:cNvPr id="3121" name="Group 3120">
              <a:extLst>
                <a:ext uri="{FF2B5EF4-FFF2-40B4-BE49-F238E27FC236}">
                  <a16:creationId xmlns:a16="http://schemas.microsoft.com/office/drawing/2014/main" id="{B34F0793-F582-7F88-5C83-6D8B990F7EC1}"/>
                </a:ext>
              </a:extLst>
            </p:cNvPr>
            <p:cNvGrpSpPr/>
            <p:nvPr/>
          </p:nvGrpSpPr>
          <p:grpSpPr>
            <a:xfrm>
              <a:off x="8168249" y="2968898"/>
              <a:ext cx="1883659" cy="1195248"/>
              <a:chOff x="6430073" y="5015052"/>
              <a:chExt cx="1883659" cy="1195248"/>
            </a:xfrm>
          </p:grpSpPr>
          <p:grpSp>
            <p:nvGrpSpPr>
              <p:cNvPr id="3155" name="Group 5">
                <a:extLst>
                  <a:ext uri="{FF2B5EF4-FFF2-40B4-BE49-F238E27FC236}">
                    <a16:creationId xmlns:a16="http://schemas.microsoft.com/office/drawing/2014/main" id="{3E0CA691-7EC2-7ABF-C958-93E20ABA0B6D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7169213" y="5015052"/>
                <a:ext cx="1144519" cy="959028"/>
                <a:chOff x="3550" y="1917"/>
                <a:chExt cx="580" cy="486"/>
              </a:xfrm>
            </p:grpSpPr>
            <p:sp>
              <p:nvSpPr>
                <p:cNvPr id="3172" name="Freeform 6">
                  <a:extLst>
                    <a:ext uri="{FF2B5EF4-FFF2-40B4-BE49-F238E27FC236}">
                      <a16:creationId xmlns:a16="http://schemas.microsoft.com/office/drawing/2014/main" id="{74BFB69B-7DFA-C43D-C5FA-8C4A32D657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2045"/>
                  <a:ext cx="198" cy="358"/>
                </a:xfrm>
                <a:custGeom>
                  <a:avLst/>
                  <a:gdLst>
                    <a:gd name="T0" fmla="*/ 0 w 198"/>
                    <a:gd name="T1" fmla="*/ 242 h 358"/>
                    <a:gd name="T2" fmla="*/ 198 w 198"/>
                    <a:gd name="T3" fmla="*/ 358 h 358"/>
                    <a:gd name="T4" fmla="*/ 198 w 198"/>
                    <a:gd name="T5" fmla="*/ 115 h 358"/>
                    <a:gd name="T6" fmla="*/ 0 w 198"/>
                    <a:gd name="T7" fmla="*/ 0 h 358"/>
                    <a:gd name="T8" fmla="*/ 0 w 198"/>
                    <a:gd name="T9" fmla="*/ 242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8" h="358">
                      <a:moveTo>
                        <a:pt x="0" y="242"/>
                      </a:moveTo>
                      <a:lnTo>
                        <a:pt x="198" y="358"/>
                      </a:lnTo>
                      <a:lnTo>
                        <a:pt x="198" y="115"/>
                      </a:lnTo>
                      <a:lnTo>
                        <a:pt x="0" y="0"/>
                      </a:lnTo>
                      <a:lnTo>
                        <a:pt x="0" y="242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3" name="Freeform 7">
                  <a:extLst>
                    <a:ext uri="{FF2B5EF4-FFF2-40B4-BE49-F238E27FC236}">
                      <a16:creationId xmlns:a16="http://schemas.microsoft.com/office/drawing/2014/main" id="{4CD47D3E-5EA6-20A2-749E-47CC04772D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8" y="2037"/>
                  <a:ext cx="382" cy="366"/>
                </a:xfrm>
                <a:custGeom>
                  <a:avLst/>
                  <a:gdLst>
                    <a:gd name="T0" fmla="*/ 0 w 382"/>
                    <a:gd name="T1" fmla="*/ 366 h 366"/>
                    <a:gd name="T2" fmla="*/ 382 w 382"/>
                    <a:gd name="T3" fmla="*/ 245 h 366"/>
                    <a:gd name="T4" fmla="*/ 382 w 382"/>
                    <a:gd name="T5" fmla="*/ 0 h 366"/>
                    <a:gd name="T6" fmla="*/ 0 w 382"/>
                    <a:gd name="T7" fmla="*/ 123 h 366"/>
                    <a:gd name="T8" fmla="*/ 0 w 382"/>
                    <a:gd name="T9" fmla="*/ 366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2" h="366">
                      <a:moveTo>
                        <a:pt x="0" y="366"/>
                      </a:moveTo>
                      <a:lnTo>
                        <a:pt x="382" y="245"/>
                      </a:lnTo>
                      <a:lnTo>
                        <a:pt x="382" y="0"/>
                      </a:lnTo>
                      <a:lnTo>
                        <a:pt x="0" y="123"/>
                      </a:lnTo>
                      <a:lnTo>
                        <a:pt x="0" y="366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74" name="Freeform 8">
                  <a:extLst>
                    <a:ext uri="{FF2B5EF4-FFF2-40B4-BE49-F238E27FC236}">
                      <a16:creationId xmlns:a16="http://schemas.microsoft.com/office/drawing/2014/main" id="{BE8E75BD-A368-6EB4-8B39-54D32719F5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1922"/>
                  <a:ext cx="580" cy="238"/>
                </a:xfrm>
                <a:custGeom>
                  <a:avLst/>
                  <a:gdLst>
                    <a:gd name="T0" fmla="*/ 198 w 580"/>
                    <a:gd name="T1" fmla="*/ 238 h 238"/>
                    <a:gd name="T2" fmla="*/ 580 w 580"/>
                    <a:gd name="T3" fmla="*/ 115 h 238"/>
                    <a:gd name="T4" fmla="*/ 383 w 580"/>
                    <a:gd name="T5" fmla="*/ 0 h 238"/>
                    <a:gd name="T6" fmla="*/ 0 w 580"/>
                    <a:gd name="T7" fmla="*/ 123 h 238"/>
                    <a:gd name="T8" fmla="*/ 198 w 580"/>
                    <a:gd name="T9" fmla="*/ 238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0" h="238">
                      <a:moveTo>
                        <a:pt x="198" y="238"/>
                      </a:moveTo>
                      <a:lnTo>
                        <a:pt x="580" y="115"/>
                      </a:lnTo>
                      <a:lnTo>
                        <a:pt x="383" y="0"/>
                      </a:lnTo>
                      <a:lnTo>
                        <a:pt x="0" y="123"/>
                      </a:lnTo>
                      <a:lnTo>
                        <a:pt x="198" y="238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5" name="Rectangle 9">
                  <a:extLst>
                    <a:ext uri="{FF2B5EF4-FFF2-40B4-BE49-F238E27FC236}">
                      <a16:creationId xmlns:a16="http://schemas.microsoft.com/office/drawing/2014/main" id="{C83F3DAC-3A3F-EB9D-844F-5538490A721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04"/>
                  <a:ext cx="110" cy="33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6" name="Oval 10">
                  <a:extLst>
                    <a:ext uri="{FF2B5EF4-FFF2-40B4-BE49-F238E27FC236}">
                      <a16:creationId xmlns:a16="http://schemas.microsoft.com/office/drawing/2014/main" id="{8E79F599-2098-96F8-C821-3B73900967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13"/>
                  <a:ext cx="110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7" name="Oval 11">
                  <a:extLst>
                    <a:ext uri="{FF2B5EF4-FFF2-40B4-BE49-F238E27FC236}">
                      <a16:creationId xmlns:a16="http://schemas.microsoft.com/office/drawing/2014/main" id="{7EEF703C-E26F-DF53-50B8-3DAD3C7ECAE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1980"/>
                  <a:ext cx="110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8" name="Rectangle 12">
                  <a:extLst>
                    <a:ext uri="{FF2B5EF4-FFF2-40B4-BE49-F238E27FC236}">
                      <a16:creationId xmlns:a16="http://schemas.microsoft.com/office/drawing/2014/main" id="{967551DD-8141-8047-97F8-81F53AADFE3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4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9" name="Oval 13">
                  <a:extLst>
                    <a:ext uri="{FF2B5EF4-FFF2-40B4-BE49-F238E27FC236}">
                      <a16:creationId xmlns:a16="http://schemas.microsoft.com/office/drawing/2014/main" id="{864F5D4D-1C54-2371-C49C-20B1A183751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5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0" name="Oval 14">
                  <a:extLst>
                    <a:ext uri="{FF2B5EF4-FFF2-40B4-BE49-F238E27FC236}">
                      <a16:creationId xmlns:a16="http://schemas.microsoft.com/office/drawing/2014/main" id="{DA6B407F-CD38-4ED6-0F84-30A2929A9DA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17"/>
                  <a:ext cx="113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1" name="Rectangle 15">
                  <a:extLst>
                    <a:ext uri="{FF2B5EF4-FFF2-40B4-BE49-F238E27FC236}">
                      <a16:creationId xmlns:a16="http://schemas.microsoft.com/office/drawing/2014/main" id="{6CAEE2C4-E2EE-71D0-1E34-28C405E46ED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7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2" name="Oval 16">
                  <a:extLst>
                    <a:ext uri="{FF2B5EF4-FFF2-40B4-BE49-F238E27FC236}">
                      <a16:creationId xmlns:a16="http://schemas.microsoft.com/office/drawing/2014/main" id="{FC5A0B3E-3067-6B75-F7D0-335FD4B6FDE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8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3" name="Oval 17">
                  <a:extLst>
                    <a:ext uri="{FF2B5EF4-FFF2-40B4-BE49-F238E27FC236}">
                      <a16:creationId xmlns:a16="http://schemas.microsoft.com/office/drawing/2014/main" id="{B1CCE4CD-4258-4389-851C-3AB818ADE7A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47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4" name="Rectangle 18">
                  <a:extLst>
                    <a:ext uri="{FF2B5EF4-FFF2-40B4-BE49-F238E27FC236}">
                      <a16:creationId xmlns:a16="http://schemas.microsoft.com/office/drawing/2014/main" id="{2A530A3D-1A8D-A493-1CB7-E9400151122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13"/>
                  <a:ext cx="111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5" name="Oval 19">
                  <a:extLst>
                    <a:ext uri="{FF2B5EF4-FFF2-40B4-BE49-F238E27FC236}">
                      <a16:creationId xmlns:a16="http://schemas.microsoft.com/office/drawing/2014/main" id="{69D27F10-49E0-76D4-EDA4-5AC747C6617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21"/>
                  <a:ext cx="111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6" name="Oval 20">
                  <a:extLst>
                    <a:ext uri="{FF2B5EF4-FFF2-40B4-BE49-F238E27FC236}">
                      <a16:creationId xmlns:a16="http://schemas.microsoft.com/office/drawing/2014/main" id="{3D0B41B2-E61D-E7FE-FB3F-8351269A030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1989"/>
                  <a:ext cx="111" cy="48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3156" name="Group 5">
                <a:extLst>
                  <a:ext uri="{FF2B5EF4-FFF2-40B4-BE49-F238E27FC236}">
                    <a16:creationId xmlns:a16="http://schemas.microsoft.com/office/drawing/2014/main" id="{50D4D640-B6B5-E04D-D2C5-C16D1DCEE08D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6430073" y="5251272"/>
                <a:ext cx="1144519" cy="959028"/>
                <a:chOff x="3550" y="1917"/>
                <a:chExt cx="580" cy="486"/>
              </a:xfrm>
            </p:grpSpPr>
            <p:sp>
              <p:nvSpPr>
                <p:cNvPr id="3157" name="Freeform 6">
                  <a:extLst>
                    <a:ext uri="{FF2B5EF4-FFF2-40B4-BE49-F238E27FC236}">
                      <a16:creationId xmlns:a16="http://schemas.microsoft.com/office/drawing/2014/main" id="{6FAB6C8D-9D38-E3FD-187F-A83332E84B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2045"/>
                  <a:ext cx="198" cy="358"/>
                </a:xfrm>
                <a:custGeom>
                  <a:avLst/>
                  <a:gdLst>
                    <a:gd name="T0" fmla="*/ 0 w 198"/>
                    <a:gd name="T1" fmla="*/ 242 h 358"/>
                    <a:gd name="T2" fmla="*/ 198 w 198"/>
                    <a:gd name="T3" fmla="*/ 358 h 358"/>
                    <a:gd name="T4" fmla="*/ 198 w 198"/>
                    <a:gd name="T5" fmla="*/ 115 h 358"/>
                    <a:gd name="T6" fmla="*/ 0 w 198"/>
                    <a:gd name="T7" fmla="*/ 0 h 358"/>
                    <a:gd name="T8" fmla="*/ 0 w 198"/>
                    <a:gd name="T9" fmla="*/ 242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8" h="358">
                      <a:moveTo>
                        <a:pt x="0" y="242"/>
                      </a:moveTo>
                      <a:lnTo>
                        <a:pt x="198" y="358"/>
                      </a:lnTo>
                      <a:lnTo>
                        <a:pt x="198" y="115"/>
                      </a:lnTo>
                      <a:lnTo>
                        <a:pt x="0" y="0"/>
                      </a:lnTo>
                      <a:lnTo>
                        <a:pt x="0" y="242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8" name="Freeform 7">
                  <a:extLst>
                    <a:ext uri="{FF2B5EF4-FFF2-40B4-BE49-F238E27FC236}">
                      <a16:creationId xmlns:a16="http://schemas.microsoft.com/office/drawing/2014/main" id="{B3EEE24B-34C9-94CA-03BD-1CB71200D6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8" y="2037"/>
                  <a:ext cx="382" cy="366"/>
                </a:xfrm>
                <a:custGeom>
                  <a:avLst/>
                  <a:gdLst>
                    <a:gd name="T0" fmla="*/ 0 w 382"/>
                    <a:gd name="T1" fmla="*/ 366 h 366"/>
                    <a:gd name="T2" fmla="*/ 382 w 382"/>
                    <a:gd name="T3" fmla="*/ 245 h 366"/>
                    <a:gd name="T4" fmla="*/ 382 w 382"/>
                    <a:gd name="T5" fmla="*/ 0 h 366"/>
                    <a:gd name="T6" fmla="*/ 0 w 382"/>
                    <a:gd name="T7" fmla="*/ 123 h 366"/>
                    <a:gd name="T8" fmla="*/ 0 w 382"/>
                    <a:gd name="T9" fmla="*/ 366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2" h="366">
                      <a:moveTo>
                        <a:pt x="0" y="366"/>
                      </a:moveTo>
                      <a:lnTo>
                        <a:pt x="382" y="245"/>
                      </a:lnTo>
                      <a:lnTo>
                        <a:pt x="382" y="0"/>
                      </a:lnTo>
                      <a:lnTo>
                        <a:pt x="0" y="123"/>
                      </a:lnTo>
                      <a:lnTo>
                        <a:pt x="0" y="366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59" name="Freeform 8">
                  <a:extLst>
                    <a:ext uri="{FF2B5EF4-FFF2-40B4-BE49-F238E27FC236}">
                      <a16:creationId xmlns:a16="http://schemas.microsoft.com/office/drawing/2014/main" id="{BE695471-1D6A-F755-2575-7766E051F6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1922"/>
                  <a:ext cx="580" cy="238"/>
                </a:xfrm>
                <a:custGeom>
                  <a:avLst/>
                  <a:gdLst>
                    <a:gd name="T0" fmla="*/ 198 w 580"/>
                    <a:gd name="T1" fmla="*/ 238 h 238"/>
                    <a:gd name="T2" fmla="*/ 580 w 580"/>
                    <a:gd name="T3" fmla="*/ 115 h 238"/>
                    <a:gd name="T4" fmla="*/ 383 w 580"/>
                    <a:gd name="T5" fmla="*/ 0 h 238"/>
                    <a:gd name="T6" fmla="*/ 0 w 580"/>
                    <a:gd name="T7" fmla="*/ 123 h 238"/>
                    <a:gd name="T8" fmla="*/ 198 w 580"/>
                    <a:gd name="T9" fmla="*/ 238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0" h="238">
                      <a:moveTo>
                        <a:pt x="198" y="238"/>
                      </a:moveTo>
                      <a:lnTo>
                        <a:pt x="580" y="115"/>
                      </a:lnTo>
                      <a:lnTo>
                        <a:pt x="383" y="0"/>
                      </a:lnTo>
                      <a:lnTo>
                        <a:pt x="0" y="123"/>
                      </a:lnTo>
                      <a:lnTo>
                        <a:pt x="198" y="238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0" name="Rectangle 9">
                  <a:extLst>
                    <a:ext uri="{FF2B5EF4-FFF2-40B4-BE49-F238E27FC236}">
                      <a16:creationId xmlns:a16="http://schemas.microsoft.com/office/drawing/2014/main" id="{049A131A-6936-21D2-389A-B8F7F11739C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04"/>
                  <a:ext cx="110" cy="33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1" name="Oval 10">
                  <a:extLst>
                    <a:ext uri="{FF2B5EF4-FFF2-40B4-BE49-F238E27FC236}">
                      <a16:creationId xmlns:a16="http://schemas.microsoft.com/office/drawing/2014/main" id="{17FF785A-7B81-64A3-C5B7-7B98EB44BE4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13"/>
                  <a:ext cx="110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2" name="Oval 11">
                  <a:extLst>
                    <a:ext uri="{FF2B5EF4-FFF2-40B4-BE49-F238E27FC236}">
                      <a16:creationId xmlns:a16="http://schemas.microsoft.com/office/drawing/2014/main" id="{219ABB09-6ECB-F37C-2A97-FB346F859E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1980"/>
                  <a:ext cx="110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3" name="Rectangle 12">
                  <a:extLst>
                    <a:ext uri="{FF2B5EF4-FFF2-40B4-BE49-F238E27FC236}">
                      <a16:creationId xmlns:a16="http://schemas.microsoft.com/office/drawing/2014/main" id="{B6EA70EC-7BAC-101A-3B50-ECCC6FB667F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4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4" name="Oval 13">
                  <a:extLst>
                    <a:ext uri="{FF2B5EF4-FFF2-40B4-BE49-F238E27FC236}">
                      <a16:creationId xmlns:a16="http://schemas.microsoft.com/office/drawing/2014/main" id="{00D236E3-6F57-33D6-40E8-8A3504DA2C3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5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5" name="Oval 14">
                  <a:extLst>
                    <a:ext uri="{FF2B5EF4-FFF2-40B4-BE49-F238E27FC236}">
                      <a16:creationId xmlns:a16="http://schemas.microsoft.com/office/drawing/2014/main" id="{1A5949F4-CEBC-4652-6C39-0CAD2554F14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17"/>
                  <a:ext cx="113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6" name="Rectangle 15">
                  <a:extLst>
                    <a:ext uri="{FF2B5EF4-FFF2-40B4-BE49-F238E27FC236}">
                      <a16:creationId xmlns:a16="http://schemas.microsoft.com/office/drawing/2014/main" id="{A0DA777F-EC1F-DC46-1742-A0BF60A20A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7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7" name="Oval 16">
                  <a:extLst>
                    <a:ext uri="{FF2B5EF4-FFF2-40B4-BE49-F238E27FC236}">
                      <a16:creationId xmlns:a16="http://schemas.microsoft.com/office/drawing/2014/main" id="{6ADF7658-1BE9-7B0A-DCF1-7CF0DD3EF1C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8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8" name="Oval 17">
                  <a:extLst>
                    <a:ext uri="{FF2B5EF4-FFF2-40B4-BE49-F238E27FC236}">
                      <a16:creationId xmlns:a16="http://schemas.microsoft.com/office/drawing/2014/main" id="{BE30EA58-7594-35DD-F253-864205957A3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47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9" name="Rectangle 18">
                  <a:extLst>
                    <a:ext uri="{FF2B5EF4-FFF2-40B4-BE49-F238E27FC236}">
                      <a16:creationId xmlns:a16="http://schemas.microsoft.com/office/drawing/2014/main" id="{0C6B33A2-2C8C-7D63-A432-53D4745AEBA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13"/>
                  <a:ext cx="111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0" name="Oval 19">
                  <a:extLst>
                    <a:ext uri="{FF2B5EF4-FFF2-40B4-BE49-F238E27FC236}">
                      <a16:creationId xmlns:a16="http://schemas.microsoft.com/office/drawing/2014/main" id="{9CB4D371-A6D5-1F91-3DB6-7A0D693EFB4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21"/>
                  <a:ext cx="111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1" name="Oval 20">
                  <a:extLst>
                    <a:ext uri="{FF2B5EF4-FFF2-40B4-BE49-F238E27FC236}">
                      <a16:creationId xmlns:a16="http://schemas.microsoft.com/office/drawing/2014/main" id="{93CA8641-355C-A3B1-0A9E-4CC95285045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1989"/>
                  <a:ext cx="111" cy="48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grpSp>
          <p:nvGrpSpPr>
            <p:cNvPr id="3122" name="Group 3121">
              <a:extLst>
                <a:ext uri="{FF2B5EF4-FFF2-40B4-BE49-F238E27FC236}">
                  <a16:creationId xmlns:a16="http://schemas.microsoft.com/office/drawing/2014/main" id="{B70033AD-FC9D-AF67-4E45-F1C2E890C5D3}"/>
                </a:ext>
              </a:extLst>
            </p:cNvPr>
            <p:cNvGrpSpPr/>
            <p:nvPr/>
          </p:nvGrpSpPr>
          <p:grpSpPr>
            <a:xfrm>
              <a:off x="8716808" y="2156853"/>
              <a:ext cx="1883659" cy="1195248"/>
              <a:chOff x="6430073" y="5015052"/>
              <a:chExt cx="1883659" cy="1195248"/>
            </a:xfrm>
          </p:grpSpPr>
          <p:grpSp>
            <p:nvGrpSpPr>
              <p:cNvPr id="3123" name="Group 5">
                <a:extLst>
                  <a:ext uri="{FF2B5EF4-FFF2-40B4-BE49-F238E27FC236}">
                    <a16:creationId xmlns:a16="http://schemas.microsoft.com/office/drawing/2014/main" id="{68CF4F81-8783-B40B-95C2-2B66745DC660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7169213" y="5015052"/>
                <a:ext cx="1144519" cy="959028"/>
                <a:chOff x="3550" y="1917"/>
                <a:chExt cx="580" cy="486"/>
              </a:xfrm>
            </p:grpSpPr>
            <p:sp>
              <p:nvSpPr>
                <p:cNvPr id="3140" name="Freeform 6">
                  <a:extLst>
                    <a:ext uri="{FF2B5EF4-FFF2-40B4-BE49-F238E27FC236}">
                      <a16:creationId xmlns:a16="http://schemas.microsoft.com/office/drawing/2014/main" id="{B5A63D59-2BD5-4198-9B0E-A8C76E34E8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2045"/>
                  <a:ext cx="198" cy="358"/>
                </a:xfrm>
                <a:custGeom>
                  <a:avLst/>
                  <a:gdLst>
                    <a:gd name="T0" fmla="*/ 0 w 198"/>
                    <a:gd name="T1" fmla="*/ 242 h 358"/>
                    <a:gd name="T2" fmla="*/ 198 w 198"/>
                    <a:gd name="T3" fmla="*/ 358 h 358"/>
                    <a:gd name="T4" fmla="*/ 198 w 198"/>
                    <a:gd name="T5" fmla="*/ 115 h 358"/>
                    <a:gd name="T6" fmla="*/ 0 w 198"/>
                    <a:gd name="T7" fmla="*/ 0 h 358"/>
                    <a:gd name="T8" fmla="*/ 0 w 198"/>
                    <a:gd name="T9" fmla="*/ 242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8" h="358">
                      <a:moveTo>
                        <a:pt x="0" y="242"/>
                      </a:moveTo>
                      <a:lnTo>
                        <a:pt x="198" y="358"/>
                      </a:lnTo>
                      <a:lnTo>
                        <a:pt x="198" y="115"/>
                      </a:lnTo>
                      <a:lnTo>
                        <a:pt x="0" y="0"/>
                      </a:lnTo>
                      <a:lnTo>
                        <a:pt x="0" y="242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1" name="Freeform 7">
                  <a:extLst>
                    <a:ext uri="{FF2B5EF4-FFF2-40B4-BE49-F238E27FC236}">
                      <a16:creationId xmlns:a16="http://schemas.microsoft.com/office/drawing/2014/main" id="{DDDEA0B9-8F20-D825-3457-20CDC22787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8" y="2037"/>
                  <a:ext cx="382" cy="366"/>
                </a:xfrm>
                <a:custGeom>
                  <a:avLst/>
                  <a:gdLst>
                    <a:gd name="T0" fmla="*/ 0 w 382"/>
                    <a:gd name="T1" fmla="*/ 366 h 366"/>
                    <a:gd name="T2" fmla="*/ 382 w 382"/>
                    <a:gd name="T3" fmla="*/ 245 h 366"/>
                    <a:gd name="T4" fmla="*/ 382 w 382"/>
                    <a:gd name="T5" fmla="*/ 0 h 366"/>
                    <a:gd name="T6" fmla="*/ 0 w 382"/>
                    <a:gd name="T7" fmla="*/ 123 h 366"/>
                    <a:gd name="T8" fmla="*/ 0 w 382"/>
                    <a:gd name="T9" fmla="*/ 366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2" h="366">
                      <a:moveTo>
                        <a:pt x="0" y="366"/>
                      </a:moveTo>
                      <a:lnTo>
                        <a:pt x="382" y="245"/>
                      </a:lnTo>
                      <a:lnTo>
                        <a:pt x="382" y="0"/>
                      </a:lnTo>
                      <a:lnTo>
                        <a:pt x="0" y="123"/>
                      </a:lnTo>
                      <a:lnTo>
                        <a:pt x="0" y="366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42" name="Freeform 8">
                  <a:extLst>
                    <a:ext uri="{FF2B5EF4-FFF2-40B4-BE49-F238E27FC236}">
                      <a16:creationId xmlns:a16="http://schemas.microsoft.com/office/drawing/2014/main" id="{7C2F4AAE-0BE0-D25B-F014-FA1F75B3A4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1922"/>
                  <a:ext cx="580" cy="238"/>
                </a:xfrm>
                <a:custGeom>
                  <a:avLst/>
                  <a:gdLst>
                    <a:gd name="T0" fmla="*/ 198 w 580"/>
                    <a:gd name="T1" fmla="*/ 238 h 238"/>
                    <a:gd name="T2" fmla="*/ 580 w 580"/>
                    <a:gd name="T3" fmla="*/ 115 h 238"/>
                    <a:gd name="T4" fmla="*/ 383 w 580"/>
                    <a:gd name="T5" fmla="*/ 0 h 238"/>
                    <a:gd name="T6" fmla="*/ 0 w 580"/>
                    <a:gd name="T7" fmla="*/ 123 h 238"/>
                    <a:gd name="T8" fmla="*/ 198 w 580"/>
                    <a:gd name="T9" fmla="*/ 238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0" h="238">
                      <a:moveTo>
                        <a:pt x="198" y="238"/>
                      </a:moveTo>
                      <a:lnTo>
                        <a:pt x="580" y="115"/>
                      </a:lnTo>
                      <a:lnTo>
                        <a:pt x="383" y="0"/>
                      </a:lnTo>
                      <a:lnTo>
                        <a:pt x="0" y="123"/>
                      </a:lnTo>
                      <a:lnTo>
                        <a:pt x="198" y="238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3" name="Rectangle 9">
                  <a:extLst>
                    <a:ext uri="{FF2B5EF4-FFF2-40B4-BE49-F238E27FC236}">
                      <a16:creationId xmlns:a16="http://schemas.microsoft.com/office/drawing/2014/main" id="{93D24373-CF19-F91C-0EFF-9BDDAEB3B60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04"/>
                  <a:ext cx="110" cy="33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4" name="Oval 10">
                  <a:extLst>
                    <a:ext uri="{FF2B5EF4-FFF2-40B4-BE49-F238E27FC236}">
                      <a16:creationId xmlns:a16="http://schemas.microsoft.com/office/drawing/2014/main" id="{B0AE914A-F03F-6CA4-E48C-23F6BC9EB5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13"/>
                  <a:ext cx="110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5" name="Oval 11">
                  <a:extLst>
                    <a:ext uri="{FF2B5EF4-FFF2-40B4-BE49-F238E27FC236}">
                      <a16:creationId xmlns:a16="http://schemas.microsoft.com/office/drawing/2014/main" id="{C9F95B4D-1591-E291-0369-8176A5DA9AA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1980"/>
                  <a:ext cx="110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6" name="Rectangle 12">
                  <a:extLst>
                    <a:ext uri="{FF2B5EF4-FFF2-40B4-BE49-F238E27FC236}">
                      <a16:creationId xmlns:a16="http://schemas.microsoft.com/office/drawing/2014/main" id="{43CD338B-C136-CF84-2D08-45ADD8083F7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4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7" name="Oval 13">
                  <a:extLst>
                    <a:ext uri="{FF2B5EF4-FFF2-40B4-BE49-F238E27FC236}">
                      <a16:creationId xmlns:a16="http://schemas.microsoft.com/office/drawing/2014/main" id="{259293A3-DD92-2533-1812-84D4239ECE4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5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8" name="Oval 14">
                  <a:extLst>
                    <a:ext uri="{FF2B5EF4-FFF2-40B4-BE49-F238E27FC236}">
                      <a16:creationId xmlns:a16="http://schemas.microsoft.com/office/drawing/2014/main" id="{5D3E985D-B381-B6AA-FD04-C3B8D47DEB2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17"/>
                  <a:ext cx="113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9" name="Rectangle 15">
                  <a:extLst>
                    <a:ext uri="{FF2B5EF4-FFF2-40B4-BE49-F238E27FC236}">
                      <a16:creationId xmlns:a16="http://schemas.microsoft.com/office/drawing/2014/main" id="{FD60DE0F-D7CC-37DB-B83E-E312B3C95C0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7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0" name="Oval 16">
                  <a:extLst>
                    <a:ext uri="{FF2B5EF4-FFF2-40B4-BE49-F238E27FC236}">
                      <a16:creationId xmlns:a16="http://schemas.microsoft.com/office/drawing/2014/main" id="{23767E40-0BCD-A118-B6F1-3584C1D59E9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8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1" name="Oval 17">
                  <a:extLst>
                    <a:ext uri="{FF2B5EF4-FFF2-40B4-BE49-F238E27FC236}">
                      <a16:creationId xmlns:a16="http://schemas.microsoft.com/office/drawing/2014/main" id="{7F2ED990-8612-E0C8-53A7-CDB3D3204D0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47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2" name="Rectangle 18">
                  <a:extLst>
                    <a:ext uri="{FF2B5EF4-FFF2-40B4-BE49-F238E27FC236}">
                      <a16:creationId xmlns:a16="http://schemas.microsoft.com/office/drawing/2014/main" id="{24828674-5384-EC8D-2B24-DBB29C7DFAA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13"/>
                  <a:ext cx="111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3" name="Oval 19">
                  <a:extLst>
                    <a:ext uri="{FF2B5EF4-FFF2-40B4-BE49-F238E27FC236}">
                      <a16:creationId xmlns:a16="http://schemas.microsoft.com/office/drawing/2014/main" id="{E1D4AD92-2554-68C7-7505-D2361F7F460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21"/>
                  <a:ext cx="111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4" name="Oval 20">
                  <a:extLst>
                    <a:ext uri="{FF2B5EF4-FFF2-40B4-BE49-F238E27FC236}">
                      <a16:creationId xmlns:a16="http://schemas.microsoft.com/office/drawing/2014/main" id="{167B88E4-62ED-B48F-BE7C-141B6F986A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1989"/>
                  <a:ext cx="111" cy="48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3124" name="Group 5">
                <a:extLst>
                  <a:ext uri="{FF2B5EF4-FFF2-40B4-BE49-F238E27FC236}">
                    <a16:creationId xmlns:a16="http://schemas.microsoft.com/office/drawing/2014/main" id="{ED5137E6-67ED-D52A-36ED-498A10B18152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6430073" y="5251272"/>
                <a:ext cx="1144519" cy="959028"/>
                <a:chOff x="3550" y="1917"/>
                <a:chExt cx="580" cy="486"/>
              </a:xfrm>
            </p:grpSpPr>
            <p:sp>
              <p:nvSpPr>
                <p:cNvPr id="3125" name="Freeform 6">
                  <a:extLst>
                    <a:ext uri="{FF2B5EF4-FFF2-40B4-BE49-F238E27FC236}">
                      <a16:creationId xmlns:a16="http://schemas.microsoft.com/office/drawing/2014/main" id="{551BF171-59C0-C1F6-6BF4-B8F2744626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2045"/>
                  <a:ext cx="198" cy="358"/>
                </a:xfrm>
                <a:custGeom>
                  <a:avLst/>
                  <a:gdLst>
                    <a:gd name="T0" fmla="*/ 0 w 198"/>
                    <a:gd name="T1" fmla="*/ 242 h 358"/>
                    <a:gd name="T2" fmla="*/ 198 w 198"/>
                    <a:gd name="T3" fmla="*/ 358 h 358"/>
                    <a:gd name="T4" fmla="*/ 198 w 198"/>
                    <a:gd name="T5" fmla="*/ 115 h 358"/>
                    <a:gd name="T6" fmla="*/ 0 w 198"/>
                    <a:gd name="T7" fmla="*/ 0 h 358"/>
                    <a:gd name="T8" fmla="*/ 0 w 198"/>
                    <a:gd name="T9" fmla="*/ 242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8" h="358">
                      <a:moveTo>
                        <a:pt x="0" y="242"/>
                      </a:moveTo>
                      <a:lnTo>
                        <a:pt x="198" y="358"/>
                      </a:lnTo>
                      <a:lnTo>
                        <a:pt x="198" y="115"/>
                      </a:lnTo>
                      <a:lnTo>
                        <a:pt x="0" y="0"/>
                      </a:lnTo>
                      <a:lnTo>
                        <a:pt x="0" y="242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6" name="Freeform 7">
                  <a:extLst>
                    <a:ext uri="{FF2B5EF4-FFF2-40B4-BE49-F238E27FC236}">
                      <a16:creationId xmlns:a16="http://schemas.microsoft.com/office/drawing/2014/main" id="{C8479226-552F-F061-ABDE-C9E866686F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8" y="2037"/>
                  <a:ext cx="382" cy="366"/>
                </a:xfrm>
                <a:custGeom>
                  <a:avLst/>
                  <a:gdLst>
                    <a:gd name="T0" fmla="*/ 0 w 382"/>
                    <a:gd name="T1" fmla="*/ 366 h 366"/>
                    <a:gd name="T2" fmla="*/ 382 w 382"/>
                    <a:gd name="T3" fmla="*/ 245 h 366"/>
                    <a:gd name="T4" fmla="*/ 382 w 382"/>
                    <a:gd name="T5" fmla="*/ 0 h 366"/>
                    <a:gd name="T6" fmla="*/ 0 w 382"/>
                    <a:gd name="T7" fmla="*/ 123 h 366"/>
                    <a:gd name="T8" fmla="*/ 0 w 382"/>
                    <a:gd name="T9" fmla="*/ 366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2" h="366">
                      <a:moveTo>
                        <a:pt x="0" y="366"/>
                      </a:moveTo>
                      <a:lnTo>
                        <a:pt x="382" y="245"/>
                      </a:lnTo>
                      <a:lnTo>
                        <a:pt x="382" y="0"/>
                      </a:lnTo>
                      <a:lnTo>
                        <a:pt x="0" y="123"/>
                      </a:lnTo>
                      <a:lnTo>
                        <a:pt x="0" y="366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27" name="Freeform 8">
                  <a:extLst>
                    <a:ext uri="{FF2B5EF4-FFF2-40B4-BE49-F238E27FC236}">
                      <a16:creationId xmlns:a16="http://schemas.microsoft.com/office/drawing/2014/main" id="{821832C9-B754-FB7C-A3E5-34C66C1814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1922"/>
                  <a:ext cx="580" cy="238"/>
                </a:xfrm>
                <a:custGeom>
                  <a:avLst/>
                  <a:gdLst>
                    <a:gd name="T0" fmla="*/ 198 w 580"/>
                    <a:gd name="T1" fmla="*/ 238 h 238"/>
                    <a:gd name="T2" fmla="*/ 580 w 580"/>
                    <a:gd name="T3" fmla="*/ 115 h 238"/>
                    <a:gd name="T4" fmla="*/ 383 w 580"/>
                    <a:gd name="T5" fmla="*/ 0 h 238"/>
                    <a:gd name="T6" fmla="*/ 0 w 580"/>
                    <a:gd name="T7" fmla="*/ 123 h 238"/>
                    <a:gd name="T8" fmla="*/ 198 w 580"/>
                    <a:gd name="T9" fmla="*/ 238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0" h="238">
                      <a:moveTo>
                        <a:pt x="198" y="238"/>
                      </a:moveTo>
                      <a:lnTo>
                        <a:pt x="580" y="115"/>
                      </a:lnTo>
                      <a:lnTo>
                        <a:pt x="383" y="0"/>
                      </a:lnTo>
                      <a:lnTo>
                        <a:pt x="0" y="123"/>
                      </a:lnTo>
                      <a:lnTo>
                        <a:pt x="198" y="238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8" name="Rectangle 9">
                  <a:extLst>
                    <a:ext uri="{FF2B5EF4-FFF2-40B4-BE49-F238E27FC236}">
                      <a16:creationId xmlns:a16="http://schemas.microsoft.com/office/drawing/2014/main" id="{81EF5056-4121-55AC-36B1-9D91E105AE7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04"/>
                  <a:ext cx="110" cy="33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9" name="Oval 10">
                  <a:extLst>
                    <a:ext uri="{FF2B5EF4-FFF2-40B4-BE49-F238E27FC236}">
                      <a16:creationId xmlns:a16="http://schemas.microsoft.com/office/drawing/2014/main" id="{069409FA-754F-527B-842F-087A6CA664F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13"/>
                  <a:ext cx="110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0" name="Oval 11">
                  <a:extLst>
                    <a:ext uri="{FF2B5EF4-FFF2-40B4-BE49-F238E27FC236}">
                      <a16:creationId xmlns:a16="http://schemas.microsoft.com/office/drawing/2014/main" id="{7A42ECA8-C23C-4482-92A3-248B4331F3E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1980"/>
                  <a:ext cx="110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1" name="Rectangle 12">
                  <a:extLst>
                    <a:ext uri="{FF2B5EF4-FFF2-40B4-BE49-F238E27FC236}">
                      <a16:creationId xmlns:a16="http://schemas.microsoft.com/office/drawing/2014/main" id="{21717CEA-FAF8-C763-C374-163BF2AE2B4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4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2" name="Oval 13">
                  <a:extLst>
                    <a:ext uri="{FF2B5EF4-FFF2-40B4-BE49-F238E27FC236}">
                      <a16:creationId xmlns:a16="http://schemas.microsoft.com/office/drawing/2014/main" id="{71FA8084-9455-C8DA-7FA3-B90B8ADACE3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5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3" name="Oval 14">
                  <a:extLst>
                    <a:ext uri="{FF2B5EF4-FFF2-40B4-BE49-F238E27FC236}">
                      <a16:creationId xmlns:a16="http://schemas.microsoft.com/office/drawing/2014/main" id="{6633F4E6-9EB9-48CA-FD0C-1901B8F6F89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17"/>
                  <a:ext cx="113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4" name="Rectangle 15">
                  <a:extLst>
                    <a:ext uri="{FF2B5EF4-FFF2-40B4-BE49-F238E27FC236}">
                      <a16:creationId xmlns:a16="http://schemas.microsoft.com/office/drawing/2014/main" id="{06297EC2-2853-F232-228F-0F30EACCCA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7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5" name="Oval 16">
                  <a:extLst>
                    <a:ext uri="{FF2B5EF4-FFF2-40B4-BE49-F238E27FC236}">
                      <a16:creationId xmlns:a16="http://schemas.microsoft.com/office/drawing/2014/main" id="{14C55BD8-663C-A37C-9408-8E0AA36708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8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6" name="Oval 17">
                  <a:extLst>
                    <a:ext uri="{FF2B5EF4-FFF2-40B4-BE49-F238E27FC236}">
                      <a16:creationId xmlns:a16="http://schemas.microsoft.com/office/drawing/2014/main" id="{9AFE6CEE-D9FC-A4A6-B3E1-CE4551C8DFC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47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7" name="Rectangle 18">
                  <a:extLst>
                    <a:ext uri="{FF2B5EF4-FFF2-40B4-BE49-F238E27FC236}">
                      <a16:creationId xmlns:a16="http://schemas.microsoft.com/office/drawing/2014/main" id="{451A224B-5D8D-C0E7-D454-D7F800368FA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13"/>
                  <a:ext cx="111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8" name="Oval 19">
                  <a:extLst>
                    <a:ext uri="{FF2B5EF4-FFF2-40B4-BE49-F238E27FC236}">
                      <a16:creationId xmlns:a16="http://schemas.microsoft.com/office/drawing/2014/main" id="{A17B595B-AC01-A47E-5ACE-6C7BE119CB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21"/>
                  <a:ext cx="111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9" name="Oval 20">
                  <a:extLst>
                    <a:ext uri="{FF2B5EF4-FFF2-40B4-BE49-F238E27FC236}">
                      <a16:creationId xmlns:a16="http://schemas.microsoft.com/office/drawing/2014/main" id="{B74AF1B6-435C-0FE8-254B-37440D9535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1989"/>
                  <a:ext cx="111" cy="48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0327043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E15372F-A310-4894-8B2B-1A1EE82FEA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E15372F-A310-4894-8B2B-1A1EE82FEA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3E364BE8-496B-4633-BEC3-0A40D71E80E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349FD3F9-DC84-4A73-BED3-A236F8E0C2C6}"/>
              </a:ext>
            </a:extLst>
          </p:cNvPr>
          <p:cNvSpPr/>
          <p:nvPr/>
        </p:nvSpPr>
        <p:spPr>
          <a:xfrm rot="10800000" flipV="1">
            <a:off x="-19967" y="2630437"/>
            <a:ext cx="694731" cy="464457"/>
          </a:xfrm>
          <a:custGeom>
            <a:avLst/>
            <a:gdLst>
              <a:gd name="connsiteX0" fmla="*/ 694731 w 694731"/>
              <a:gd name="connsiteY0" fmla="*/ 0 h 464457"/>
              <a:gd name="connsiteX1" fmla="*/ 451057 w 694731"/>
              <a:gd name="connsiteY1" fmla="*/ 0 h 464457"/>
              <a:gd name="connsiteX2" fmla="*/ 451057 w 694731"/>
              <a:gd name="connsiteY2" fmla="*/ 111250 h 464457"/>
              <a:gd name="connsiteX3" fmla="*/ 255423 w 694731"/>
              <a:gd name="connsiteY3" fmla="*/ 111250 h 464457"/>
              <a:gd name="connsiteX4" fmla="*/ 255423 w 694731"/>
              <a:gd name="connsiteY4" fmla="*/ 0 h 464457"/>
              <a:gd name="connsiteX5" fmla="*/ 0 w 694731"/>
              <a:gd name="connsiteY5" fmla="*/ 0 h 464457"/>
              <a:gd name="connsiteX6" fmla="*/ 0 w 694731"/>
              <a:gd name="connsiteY6" fmla="*/ 464457 h 464457"/>
              <a:gd name="connsiteX7" fmla="*/ 694731 w 694731"/>
              <a:gd name="connsiteY7" fmla="*/ 464457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4731" h="464457">
                <a:moveTo>
                  <a:pt x="694731" y="0"/>
                </a:moveTo>
                <a:lnTo>
                  <a:pt x="451057" y="0"/>
                </a:lnTo>
                <a:lnTo>
                  <a:pt x="451057" y="111250"/>
                </a:lnTo>
                <a:lnTo>
                  <a:pt x="255423" y="111250"/>
                </a:lnTo>
                <a:lnTo>
                  <a:pt x="255423" y="0"/>
                </a:lnTo>
                <a:lnTo>
                  <a:pt x="0" y="0"/>
                </a:lnTo>
                <a:lnTo>
                  <a:pt x="0" y="464457"/>
                </a:lnTo>
                <a:lnTo>
                  <a:pt x="694731" y="46445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80" name="任意多边形: 形状 16">
            <a:extLst>
              <a:ext uri="{FF2B5EF4-FFF2-40B4-BE49-F238E27FC236}">
                <a16:creationId xmlns:a16="http://schemas.microsoft.com/office/drawing/2014/main" id="{0FEFBEE3-7AF0-490D-BB53-6BBF98A961CF}"/>
              </a:ext>
            </a:extLst>
          </p:cNvPr>
          <p:cNvSpPr/>
          <p:nvPr/>
        </p:nvSpPr>
        <p:spPr>
          <a:xfrm rot="10800000" flipV="1">
            <a:off x="5765429" y="262649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6B631B2A-1690-4EE2-B011-3F13865E13EE}"/>
              </a:ext>
            </a:extLst>
          </p:cNvPr>
          <p:cNvSpPr/>
          <p:nvPr/>
        </p:nvSpPr>
        <p:spPr>
          <a:xfrm rot="10800000" flipV="1">
            <a:off x="321120" y="262649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2" name="任意多边形: 形状 16">
            <a:extLst>
              <a:ext uri="{FF2B5EF4-FFF2-40B4-BE49-F238E27FC236}">
                <a16:creationId xmlns:a16="http://schemas.microsoft.com/office/drawing/2014/main" id="{BE65E9F0-2838-4190-870F-2C6B35DDA60C}"/>
              </a:ext>
            </a:extLst>
          </p:cNvPr>
          <p:cNvSpPr/>
          <p:nvPr/>
        </p:nvSpPr>
        <p:spPr>
          <a:xfrm rot="10800000" flipV="1">
            <a:off x="3064074" y="262649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任意多边形: 形状 16">
            <a:extLst>
              <a:ext uri="{FF2B5EF4-FFF2-40B4-BE49-F238E27FC236}">
                <a16:creationId xmlns:a16="http://schemas.microsoft.com/office/drawing/2014/main" id="{6B97B1F0-25B3-462E-88DF-8B2070379EEA}"/>
              </a:ext>
            </a:extLst>
          </p:cNvPr>
          <p:cNvSpPr/>
          <p:nvPr/>
        </p:nvSpPr>
        <p:spPr>
          <a:xfrm rot="10800000" flipV="1">
            <a:off x="8508629" y="262649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9" name="Freeform: Shape 88">
            <a:extLst>
              <a:ext uri="{FF2B5EF4-FFF2-40B4-BE49-F238E27FC236}">
                <a16:creationId xmlns:a16="http://schemas.microsoft.com/office/drawing/2014/main" id="{E6ED7A61-6F78-4015-909C-D27BCC38227F}"/>
              </a:ext>
            </a:extLst>
          </p:cNvPr>
          <p:cNvSpPr/>
          <p:nvPr/>
        </p:nvSpPr>
        <p:spPr>
          <a:xfrm rot="10800000" flipV="1">
            <a:off x="11239954" y="2626495"/>
            <a:ext cx="946182" cy="464457"/>
          </a:xfrm>
          <a:custGeom>
            <a:avLst/>
            <a:gdLst>
              <a:gd name="connsiteX0" fmla="*/ 849135 w 946182"/>
              <a:gd name="connsiteY0" fmla="*/ 0 h 464457"/>
              <a:gd name="connsiteX1" fmla="*/ 587352 w 946182"/>
              <a:gd name="connsiteY1" fmla="*/ 0 h 464457"/>
              <a:gd name="connsiteX2" fmla="*/ 587352 w 946182"/>
              <a:gd name="connsiteY2" fmla="*/ 111250 h 464457"/>
              <a:gd name="connsiteX3" fmla="*/ 391718 w 946182"/>
              <a:gd name="connsiteY3" fmla="*/ 111250 h 464457"/>
              <a:gd name="connsiteX4" fmla="*/ 391718 w 946182"/>
              <a:gd name="connsiteY4" fmla="*/ 0 h 464457"/>
              <a:gd name="connsiteX5" fmla="*/ 129937 w 946182"/>
              <a:gd name="connsiteY5" fmla="*/ 0 h 464457"/>
              <a:gd name="connsiteX6" fmla="*/ 129937 w 946182"/>
              <a:gd name="connsiteY6" fmla="*/ 111250 h 464457"/>
              <a:gd name="connsiteX7" fmla="*/ 0 w 946182"/>
              <a:gd name="connsiteY7" fmla="*/ 111250 h 464457"/>
              <a:gd name="connsiteX8" fmla="*/ 0 w 946182"/>
              <a:gd name="connsiteY8" fmla="*/ 464457 h 464457"/>
              <a:gd name="connsiteX9" fmla="*/ 946182 w 946182"/>
              <a:gd name="connsiteY9" fmla="*/ 464457 h 464457"/>
              <a:gd name="connsiteX10" fmla="*/ 946182 w 946182"/>
              <a:gd name="connsiteY10" fmla="*/ 111250 h 464457"/>
              <a:gd name="connsiteX11" fmla="*/ 849135 w 946182"/>
              <a:gd name="connsiteY11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46182" h="464457">
                <a:moveTo>
                  <a:pt x="849135" y="0"/>
                </a:moveTo>
                <a:lnTo>
                  <a:pt x="587352" y="0"/>
                </a:lnTo>
                <a:lnTo>
                  <a:pt x="587352" y="111250"/>
                </a:lnTo>
                <a:lnTo>
                  <a:pt x="391718" y="111250"/>
                </a:lnTo>
                <a:lnTo>
                  <a:pt x="391718" y="0"/>
                </a:lnTo>
                <a:lnTo>
                  <a:pt x="129937" y="0"/>
                </a:lnTo>
                <a:lnTo>
                  <a:pt x="129937" y="111250"/>
                </a:lnTo>
                <a:lnTo>
                  <a:pt x="0" y="111250"/>
                </a:lnTo>
                <a:lnTo>
                  <a:pt x="0" y="464457"/>
                </a:lnTo>
                <a:lnTo>
                  <a:pt x="946182" y="464457"/>
                </a:lnTo>
                <a:lnTo>
                  <a:pt x="946182" y="111250"/>
                </a:lnTo>
                <a:lnTo>
                  <a:pt x="849135" y="11125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78" name="任意多边形: 形状 16">
            <a:extLst>
              <a:ext uri="{FF2B5EF4-FFF2-40B4-BE49-F238E27FC236}">
                <a16:creationId xmlns:a16="http://schemas.microsoft.com/office/drawing/2014/main" id="{A6E7D73F-7439-4315-BC15-E9F21A50B59A}"/>
              </a:ext>
            </a:extLst>
          </p:cNvPr>
          <p:cNvSpPr/>
          <p:nvPr/>
        </p:nvSpPr>
        <p:spPr>
          <a:xfrm rot="10800000" flipV="1">
            <a:off x="5444309" y="281650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Rectángulo 6175">
            <a:extLst>
              <a:ext uri="{FF2B5EF4-FFF2-40B4-BE49-F238E27FC236}">
                <a16:creationId xmlns:a16="http://schemas.microsoft.com/office/drawing/2014/main" id="{3E1C264C-AB4A-4713-BD6B-ABBAC94717DB}"/>
              </a:ext>
            </a:extLst>
          </p:cNvPr>
          <p:cNvSpPr/>
          <p:nvPr/>
        </p:nvSpPr>
        <p:spPr>
          <a:xfrm flipV="1">
            <a:off x="0" y="3206461"/>
            <a:ext cx="12214702" cy="3651537"/>
          </a:xfrm>
          <a:prstGeom prst="rect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任意多边形: 形状 16">
            <a:extLst>
              <a:ext uri="{FF2B5EF4-FFF2-40B4-BE49-F238E27FC236}">
                <a16:creationId xmlns:a16="http://schemas.microsoft.com/office/drawing/2014/main" id="{E5F8DEC1-17B5-4EAE-A7D1-EDBACCA3C167}"/>
              </a:ext>
            </a:extLst>
          </p:cNvPr>
          <p:cNvSpPr/>
          <p:nvPr/>
        </p:nvSpPr>
        <p:spPr>
          <a:xfrm rot="10800000" flipV="1">
            <a:off x="0" y="281650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983584-8125-433F-B7FD-A6330AFCE3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241" y="365126"/>
            <a:ext cx="11063515" cy="991614"/>
          </a:xfrm>
        </p:spPr>
        <p:txBody>
          <a:bodyPr/>
          <a:lstStyle/>
          <a:p>
            <a:r>
              <a:rPr lang="da-DK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pectations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3" name="任意多边形: 形状 16">
            <a:extLst>
              <a:ext uri="{FF2B5EF4-FFF2-40B4-BE49-F238E27FC236}">
                <a16:creationId xmlns:a16="http://schemas.microsoft.com/office/drawing/2014/main" id="{D086114E-AA56-48E5-9300-EECFF6CFCBA1}"/>
              </a:ext>
            </a:extLst>
          </p:cNvPr>
          <p:cNvSpPr/>
          <p:nvPr/>
        </p:nvSpPr>
        <p:spPr>
          <a:xfrm rot="10800000" flipV="1">
            <a:off x="2742954" y="281650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任意多边形: 形状 16">
            <a:extLst>
              <a:ext uri="{FF2B5EF4-FFF2-40B4-BE49-F238E27FC236}">
                <a16:creationId xmlns:a16="http://schemas.microsoft.com/office/drawing/2014/main" id="{0C5C06E9-5DFB-42F6-9EF1-493697F0A768}"/>
              </a:ext>
            </a:extLst>
          </p:cNvPr>
          <p:cNvSpPr/>
          <p:nvPr/>
        </p:nvSpPr>
        <p:spPr>
          <a:xfrm rot="10800000" flipV="1">
            <a:off x="5441451" y="312530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任意多边形: 形状 16">
            <a:extLst>
              <a:ext uri="{FF2B5EF4-FFF2-40B4-BE49-F238E27FC236}">
                <a16:creationId xmlns:a16="http://schemas.microsoft.com/office/drawing/2014/main" id="{08CDC0EC-4E2B-4A7D-B160-C8239387B211}"/>
              </a:ext>
            </a:extLst>
          </p:cNvPr>
          <p:cNvSpPr/>
          <p:nvPr/>
        </p:nvSpPr>
        <p:spPr>
          <a:xfrm rot="10800000" flipV="1">
            <a:off x="8187509" y="281650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8" name="Picture 47" descr="A picture containing toy, holding, hand, sitting&#10;&#10;Description automatically generated">
            <a:extLst>
              <a:ext uri="{FF2B5EF4-FFF2-40B4-BE49-F238E27FC236}">
                <a16:creationId xmlns:a16="http://schemas.microsoft.com/office/drawing/2014/main" id="{8342ADBD-F89A-4970-8BCA-BC2A5CC771C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15273" y="2366406"/>
            <a:ext cx="1423113" cy="1505673"/>
          </a:xfrm>
          <a:custGeom>
            <a:avLst/>
            <a:gdLst>
              <a:gd name="connsiteX0" fmla="*/ 0 w 2329921"/>
              <a:gd name="connsiteY0" fmla="*/ 0 h 2465089"/>
              <a:gd name="connsiteX1" fmla="*/ 2329921 w 2329921"/>
              <a:gd name="connsiteY1" fmla="*/ 0 h 2465089"/>
              <a:gd name="connsiteX2" fmla="*/ 2329921 w 2329921"/>
              <a:gd name="connsiteY2" fmla="*/ 2465089 h 2465089"/>
              <a:gd name="connsiteX3" fmla="*/ 1233769 w 2329921"/>
              <a:gd name="connsiteY3" fmla="*/ 2465089 h 2465089"/>
              <a:gd name="connsiteX4" fmla="*/ 1265313 w 2329921"/>
              <a:gd name="connsiteY4" fmla="*/ 2356487 h 2465089"/>
              <a:gd name="connsiteX5" fmla="*/ 573271 w 2329921"/>
              <a:gd name="connsiteY5" fmla="*/ 2155477 h 2465089"/>
              <a:gd name="connsiteX6" fmla="*/ 498157 w 2329921"/>
              <a:gd name="connsiteY6" fmla="*/ 2414081 h 2465089"/>
              <a:gd name="connsiteX7" fmla="*/ 673769 w 2329921"/>
              <a:gd name="connsiteY7" fmla="*/ 2465089 h 2465089"/>
              <a:gd name="connsiteX8" fmla="*/ 0 w 2329921"/>
              <a:gd name="connsiteY8" fmla="*/ 2465089 h 2465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29921" h="2465089">
                <a:moveTo>
                  <a:pt x="0" y="0"/>
                </a:moveTo>
                <a:lnTo>
                  <a:pt x="2329921" y="0"/>
                </a:lnTo>
                <a:lnTo>
                  <a:pt x="2329921" y="2465089"/>
                </a:lnTo>
                <a:lnTo>
                  <a:pt x="1233769" y="2465089"/>
                </a:lnTo>
                <a:lnTo>
                  <a:pt x="1265313" y="2356487"/>
                </a:lnTo>
                <a:lnTo>
                  <a:pt x="573271" y="2155477"/>
                </a:lnTo>
                <a:lnTo>
                  <a:pt x="498157" y="2414081"/>
                </a:lnTo>
                <a:lnTo>
                  <a:pt x="673769" y="2465089"/>
                </a:lnTo>
                <a:lnTo>
                  <a:pt x="0" y="2465089"/>
                </a:lnTo>
                <a:close/>
              </a:path>
            </a:pathLst>
          </a:custGeom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6079C9D7-A3FD-4FCE-943A-3611E02F6B6F}"/>
              </a:ext>
            </a:extLst>
          </p:cNvPr>
          <p:cNvSpPr/>
          <p:nvPr/>
        </p:nvSpPr>
        <p:spPr>
          <a:xfrm rot="10800000" flipV="1">
            <a:off x="10918834" y="2816501"/>
            <a:ext cx="1267302" cy="464457"/>
          </a:xfrm>
          <a:custGeom>
            <a:avLst/>
            <a:gdLst>
              <a:gd name="connsiteX0" fmla="*/ 1267302 w 1267302"/>
              <a:gd name="connsiteY0" fmla="*/ 464457 h 464457"/>
              <a:gd name="connsiteX1" fmla="*/ 0 w 1267302"/>
              <a:gd name="connsiteY1" fmla="*/ 464457 h 464457"/>
              <a:gd name="connsiteX2" fmla="*/ 0 w 1267302"/>
              <a:gd name="connsiteY2" fmla="*/ 0 h 464457"/>
              <a:gd name="connsiteX3" fmla="*/ 255423 w 1267302"/>
              <a:gd name="connsiteY3" fmla="*/ 0 h 464457"/>
              <a:gd name="connsiteX4" fmla="*/ 255423 w 1267302"/>
              <a:gd name="connsiteY4" fmla="*/ 111250 h 464457"/>
              <a:gd name="connsiteX5" fmla="*/ 451057 w 1267302"/>
              <a:gd name="connsiteY5" fmla="*/ 111250 h 464457"/>
              <a:gd name="connsiteX6" fmla="*/ 451057 w 1267302"/>
              <a:gd name="connsiteY6" fmla="*/ 0 h 464457"/>
              <a:gd name="connsiteX7" fmla="*/ 712838 w 1267302"/>
              <a:gd name="connsiteY7" fmla="*/ 0 h 464457"/>
              <a:gd name="connsiteX8" fmla="*/ 712838 w 1267302"/>
              <a:gd name="connsiteY8" fmla="*/ 111250 h 464457"/>
              <a:gd name="connsiteX9" fmla="*/ 908472 w 1267302"/>
              <a:gd name="connsiteY9" fmla="*/ 111250 h 464457"/>
              <a:gd name="connsiteX10" fmla="*/ 908472 w 1267302"/>
              <a:gd name="connsiteY10" fmla="*/ 0 h 464457"/>
              <a:gd name="connsiteX11" fmla="*/ 1170255 w 1267302"/>
              <a:gd name="connsiteY11" fmla="*/ 0 h 464457"/>
              <a:gd name="connsiteX12" fmla="*/ 1170255 w 1267302"/>
              <a:gd name="connsiteY12" fmla="*/ 111250 h 464457"/>
              <a:gd name="connsiteX13" fmla="*/ 1267302 w 1267302"/>
              <a:gd name="connsiteY13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67302" h="464457">
                <a:moveTo>
                  <a:pt x="1267302" y="464457"/>
                </a:moveTo>
                <a:lnTo>
                  <a:pt x="0" y="464457"/>
                </a:lnTo>
                <a:lnTo>
                  <a:pt x="0" y="0"/>
                </a:lnTo>
                <a:lnTo>
                  <a:pt x="255423" y="0"/>
                </a:lnTo>
                <a:lnTo>
                  <a:pt x="255423" y="111250"/>
                </a:lnTo>
                <a:lnTo>
                  <a:pt x="451057" y="111250"/>
                </a:lnTo>
                <a:lnTo>
                  <a:pt x="451057" y="0"/>
                </a:lnTo>
                <a:lnTo>
                  <a:pt x="712838" y="0"/>
                </a:lnTo>
                <a:lnTo>
                  <a:pt x="712838" y="111250"/>
                </a:lnTo>
                <a:lnTo>
                  <a:pt x="908472" y="111250"/>
                </a:lnTo>
                <a:lnTo>
                  <a:pt x="908472" y="0"/>
                </a:lnTo>
                <a:lnTo>
                  <a:pt x="1170255" y="0"/>
                </a:lnTo>
                <a:lnTo>
                  <a:pt x="1170255" y="111250"/>
                </a:lnTo>
                <a:lnTo>
                  <a:pt x="1267302" y="111250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DBC5290-C9F3-4341-B952-571D46EC029F}"/>
              </a:ext>
            </a:extLst>
          </p:cNvPr>
          <p:cNvSpPr/>
          <p:nvPr/>
        </p:nvSpPr>
        <p:spPr>
          <a:xfrm>
            <a:off x="4258541" y="1606206"/>
            <a:ext cx="3674916" cy="3674916"/>
          </a:xfrm>
          <a:prstGeom prst="ellipse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301C1E10-D9D8-47B6-BFB9-7E68FF9363DF}"/>
              </a:ext>
            </a:extLst>
          </p:cNvPr>
          <p:cNvSpPr/>
          <p:nvPr/>
        </p:nvSpPr>
        <p:spPr>
          <a:xfrm>
            <a:off x="4417853" y="1765518"/>
            <a:ext cx="3356292" cy="3356292"/>
          </a:xfrm>
          <a:prstGeom prst="arc">
            <a:avLst>
              <a:gd name="adj1" fmla="val 13787735"/>
              <a:gd name="adj2" fmla="val 13601526"/>
            </a:avLst>
          </a:prstGeom>
          <a:ln>
            <a:solidFill>
              <a:schemeClr val="bg1"/>
            </a:solidFill>
            <a:prstDash val="lg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FF4FB6E-5C3C-4DAB-A94B-F78575F74CC8}"/>
              </a:ext>
            </a:extLst>
          </p:cNvPr>
          <p:cNvSpPr/>
          <p:nvPr/>
        </p:nvSpPr>
        <p:spPr>
          <a:xfrm>
            <a:off x="4690913" y="1655472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A7BFD0E-B353-4B3D-B28B-5CD5F820D612}"/>
              </a:ext>
            </a:extLst>
          </p:cNvPr>
          <p:cNvSpPr/>
          <p:nvPr/>
        </p:nvSpPr>
        <p:spPr>
          <a:xfrm>
            <a:off x="4818168" y="1782727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36E732C1-2C67-4A83-94BE-81415B7B698F}"/>
              </a:ext>
            </a:extLst>
          </p:cNvPr>
          <p:cNvSpPr txBox="1">
            <a:spLocks/>
          </p:cNvSpPr>
          <p:nvPr/>
        </p:nvSpPr>
        <p:spPr>
          <a:xfrm>
            <a:off x="7664434" y="1782727"/>
            <a:ext cx="3852800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l samples are simplified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04949708-1650-46EE-9E1D-BBA238AAD0CE}"/>
              </a:ext>
            </a:extLst>
          </p:cNvPr>
          <p:cNvSpPr txBox="1">
            <a:spLocks/>
          </p:cNvSpPr>
          <p:nvPr/>
        </p:nvSpPr>
        <p:spPr>
          <a:xfrm>
            <a:off x="536924" y="1782727"/>
            <a:ext cx="4035558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at are the different applications of </a:t>
            </a:r>
            <a:r>
              <a:rPr lang="en-US" sz="16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aC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C279A15-1654-4B6A-AE1D-361055EC0A68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E3DB4256-7448-4972-9F80-1BD157CBCA6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Slide Number Placeholder 5">
            <a:extLst>
              <a:ext uri="{FF2B5EF4-FFF2-40B4-BE49-F238E27FC236}">
                <a16:creationId xmlns:a16="http://schemas.microsoft.com/office/drawing/2014/main" id="{A36D2C64-E862-41F9-852C-629BCA744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1BA15F9D-4331-4374-A364-C11B0541B759}"/>
              </a:ext>
            </a:extLst>
          </p:cNvPr>
          <p:cNvSpPr/>
          <p:nvPr/>
        </p:nvSpPr>
        <p:spPr>
          <a:xfrm>
            <a:off x="3919362" y="3042211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BF9B74F9-B214-4166-94BF-D78D47C49676}"/>
              </a:ext>
            </a:extLst>
          </p:cNvPr>
          <p:cNvSpPr/>
          <p:nvPr/>
        </p:nvSpPr>
        <p:spPr>
          <a:xfrm>
            <a:off x="4046617" y="3169466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8FFF07C2-0348-4664-8027-CF14908CCD17}"/>
              </a:ext>
            </a:extLst>
          </p:cNvPr>
          <p:cNvSpPr/>
          <p:nvPr/>
        </p:nvSpPr>
        <p:spPr>
          <a:xfrm>
            <a:off x="4690913" y="4485993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5A126409-DE66-464B-A320-867D50D33803}"/>
              </a:ext>
            </a:extLst>
          </p:cNvPr>
          <p:cNvSpPr/>
          <p:nvPr/>
        </p:nvSpPr>
        <p:spPr>
          <a:xfrm>
            <a:off x="4818168" y="4613248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FC49095-8A1A-46E8-A6B5-3FC53F72A978}"/>
              </a:ext>
            </a:extLst>
          </p:cNvPr>
          <p:cNvSpPr/>
          <p:nvPr/>
        </p:nvSpPr>
        <p:spPr>
          <a:xfrm>
            <a:off x="6738060" y="1655472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542473E8-C861-4A32-9077-AB0C59822302}"/>
              </a:ext>
            </a:extLst>
          </p:cNvPr>
          <p:cNvSpPr/>
          <p:nvPr/>
        </p:nvSpPr>
        <p:spPr>
          <a:xfrm>
            <a:off x="6865315" y="1782727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D8986C12-DF18-4F74-AC7C-23AB1768DA3D}"/>
              </a:ext>
            </a:extLst>
          </p:cNvPr>
          <p:cNvSpPr/>
          <p:nvPr/>
        </p:nvSpPr>
        <p:spPr>
          <a:xfrm>
            <a:off x="6738060" y="4485993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60FB141A-431C-4C15-807E-E64F7BBDBEDF}"/>
              </a:ext>
            </a:extLst>
          </p:cNvPr>
          <p:cNvSpPr/>
          <p:nvPr/>
        </p:nvSpPr>
        <p:spPr>
          <a:xfrm>
            <a:off x="6865315" y="4613248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56F7454E-E007-40CE-B514-92E0964900AA}"/>
              </a:ext>
            </a:extLst>
          </p:cNvPr>
          <p:cNvSpPr/>
          <p:nvPr/>
        </p:nvSpPr>
        <p:spPr>
          <a:xfrm>
            <a:off x="7469730" y="3042211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53907421-8C19-4C67-A2E6-38A2FA0CEB3E}"/>
              </a:ext>
            </a:extLst>
          </p:cNvPr>
          <p:cNvSpPr/>
          <p:nvPr/>
        </p:nvSpPr>
        <p:spPr>
          <a:xfrm>
            <a:off x="7596985" y="3169466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8CB062A2-EF5E-4F6B-AEED-58A1A5EBE2BE}"/>
              </a:ext>
            </a:extLst>
          </p:cNvPr>
          <p:cNvSpPr txBox="1">
            <a:spLocks/>
          </p:cNvSpPr>
          <p:nvPr/>
        </p:nvSpPr>
        <p:spPr>
          <a:xfrm>
            <a:off x="8393175" y="3243227"/>
            <a:ext cx="2858408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~ N slides and ~ N demos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7295709-0295-482F-A07E-40FF05549F66}"/>
              </a:ext>
            </a:extLst>
          </p:cNvPr>
          <p:cNvSpPr txBox="1">
            <a:spLocks/>
          </p:cNvSpPr>
          <p:nvPr/>
        </p:nvSpPr>
        <p:spPr>
          <a:xfrm>
            <a:off x="5864" y="3243227"/>
            <a:ext cx="3785226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y organization size/model matters</a:t>
            </a:r>
          </a:p>
        </p:txBody>
      </p:sp>
      <p:sp>
        <p:nvSpPr>
          <p:cNvPr id="74" name="Title 1">
            <a:extLst>
              <a:ext uri="{FF2B5EF4-FFF2-40B4-BE49-F238E27FC236}">
                <a16:creationId xmlns:a16="http://schemas.microsoft.com/office/drawing/2014/main" id="{45B8D857-A9C5-4F00-B990-951D6E5A400A}"/>
              </a:ext>
            </a:extLst>
          </p:cNvPr>
          <p:cNvSpPr txBox="1">
            <a:spLocks/>
          </p:cNvSpPr>
          <p:nvPr/>
        </p:nvSpPr>
        <p:spPr>
          <a:xfrm>
            <a:off x="7664433" y="4695374"/>
            <a:ext cx="3144815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75" name="Title 1">
            <a:extLst>
              <a:ext uri="{FF2B5EF4-FFF2-40B4-BE49-F238E27FC236}">
                <a16:creationId xmlns:a16="http://schemas.microsoft.com/office/drawing/2014/main" id="{D5935D29-AC8D-4F44-971A-8BC019DC40F3}"/>
              </a:ext>
            </a:extLst>
          </p:cNvPr>
          <p:cNvSpPr txBox="1">
            <a:spLocks/>
          </p:cNvSpPr>
          <p:nvPr/>
        </p:nvSpPr>
        <p:spPr>
          <a:xfrm>
            <a:off x="738593" y="4695374"/>
            <a:ext cx="3833888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y Azure Template Specs can help</a:t>
            </a:r>
          </a:p>
        </p:txBody>
      </p:sp>
      <p:sp>
        <p:nvSpPr>
          <p:cNvPr id="79" name="Title 1">
            <a:extLst>
              <a:ext uri="{FF2B5EF4-FFF2-40B4-BE49-F238E27FC236}">
                <a16:creationId xmlns:a16="http://schemas.microsoft.com/office/drawing/2014/main" id="{A08418F9-6F30-4C82-A2EB-3403D86EA3B9}"/>
              </a:ext>
            </a:extLst>
          </p:cNvPr>
          <p:cNvSpPr txBox="1">
            <a:spLocks/>
          </p:cNvSpPr>
          <p:nvPr/>
        </p:nvSpPr>
        <p:spPr>
          <a:xfrm>
            <a:off x="564241" y="5692731"/>
            <a:ext cx="11120213" cy="440230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at might work for one organization might not for others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A0FD2AE3-0CAB-4B12-A131-DD6D003F7B2F}"/>
              </a:ext>
            </a:extLst>
          </p:cNvPr>
          <p:cNvGrpSpPr/>
          <p:nvPr/>
        </p:nvGrpSpPr>
        <p:grpSpPr>
          <a:xfrm>
            <a:off x="4942108" y="4745144"/>
            <a:ext cx="300516" cy="284604"/>
            <a:chOff x="2805113" y="2247901"/>
            <a:chExt cx="779462" cy="738188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92" name="Freeform 78">
              <a:extLst>
                <a:ext uri="{FF2B5EF4-FFF2-40B4-BE49-F238E27FC236}">
                  <a16:creationId xmlns:a16="http://schemas.microsoft.com/office/drawing/2014/main" id="{3C3AC2C3-9006-44F3-B7A3-A69438083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3" name="Freeform 79">
              <a:extLst>
                <a:ext uri="{FF2B5EF4-FFF2-40B4-BE49-F238E27FC236}">
                  <a16:creationId xmlns:a16="http://schemas.microsoft.com/office/drawing/2014/main" id="{9D3586C4-0006-4426-95B2-8B47798BC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4" name="Freeform 80">
              <a:extLst>
                <a:ext uri="{FF2B5EF4-FFF2-40B4-BE49-F238E27FC236}">
                  <a16:creationId xmlns:a16="http://schemas.microsoft.com/office/drawing/2014/main" id="{F3616695-DD00-4ABB-9D93-4BE3734576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5" name="Freeform 81">
              <a:extLst>
                <a:ext uri="{FF2B5EF4-FFF2-40B4-BE49-F238E27FC236}">
                  <a16:creationId xmlns:a16="http://schemas.microsoft.com/office/drawing/2014/main" id="{758549E5-4612-483E-B004-F59D9A066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6" name="Freeform 82">
              <a:extLst>
                <a:ext uri="{FF2B5EF4-FFF2-40B4-BE49-F238E27FC236}">
                  <a16:creationId xmlns:a16="http://schemas.microsoft.com/office/drawing/2014/main" id="{09DD0D24-7E89-4D87-B270-89F2D05564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7" name="Freeform 83">
              <a:extLst>
                <a:ext uri="{FF2B5EF4-FFF2-40B4-BE49-F238E27FC236}">
                  <a16:creationId xmlns:a16="http://schemas.microsoft.com/office/drawing/2014/main" id="{61F95C9E-CDD3-471F-BFAC-006DB824DE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8" name="Freeform 84">
              <a:extLst>
                <a:ext uri="{FF2B5EF4-FFF2-40B4-BE49-F238E27FC236}">
                  <a16:creationId xmlns:a16="http://schemas.microsoft.com/office/drawing/2014/main" id="{1FD0E707-DFE1-4529-932D-AE6A70931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9" name="Freeform 85">
              <a:extLst>
                <a:ext uri="{FF2B5EF4-FFF2-40B4-BE49-F238E27FC236}">
                  <a16:creationId xmlns:a16="http://schemas.microsoft.com/office/drawing/2014/main" id="{308C843F-1B54-401E-8E06-7BFCFA39A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0" name="Freeform 86">
              <a:extLst>
                <a:ext uri="{FF2B5EF4-FFF2-40B4-BE49-F238E27FC236}">
                  <a16:creationId xmlns:a16="http://schemas.microsoft.com/office/drawing/2014/main" id="{2CF67A8A-309F-4A5A-B561-F4BD99374A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1" name="Freeform 87">
              <a:extLst>
                <a:ext uri="{FF2B5EF4-FFF2-40B4-BE49-F238E27FC236}">
                  <a16:creationId xmlns:a16="http://schemas.microsoft.com/office/drawing/2014/main" id="{74D4F353-CD22-42A3-BEC8-43FFA6B08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" name="Freeform 88">
              <a:extLst>
                <a:ext uri="{FF2B5EF4-FFF2-40B4-BE49-F238E27FC236}">
                  <a16:creationId xmlns:a16="http://schemas.microsoft.com/office/drawing/2014/main" id="{44F29EAF-762D-4BD0-AA60-105C12F2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" name="Freeform 89">
              <a:extLst>
                <a:ext uri="{FF2B5EF4-FFF2-40B4-BE49-F238E27FC236}">
                  <a16:creationId xmlns:a16="http://schemas.microsoft.com/office/drawing/2014/main" id="{FDCA81E2-577A-49B1-9C05-AE100D6871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C298EAC9-F076-42F7-A0FE-288E076763B0}"/>
              </a:ext>
            </a:extLst>
          </p:cNvPr>
          <p:cNvGrpSpPr/>
          <p:nvPr/>
        </p:nvGrpSpPr>
        <p:grpSpPr>
          <a:xfrm>
            <a:off x="7722149" y="3294630"/>
            <a:ext cx="298068" cy="298068"/>
            <a:chOff x="10375900" y="3867150"/>
            <a:chExt cx="773113" cy="773113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06" name="Freeform 132">
              <a:extLst>
                <a:ext uri="{FF2B5EF4-FFF2-40B4-BE49-F238E27FC236}">
                  <a16:creationId xmlns:a16="http://schemas.microsoft.com/office/drawing/2014/main" id="{4744675E-EF17-4957-91DF-97CAB121B3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75900" y="3867150"/>
              <a:ext cx="773113" cy="773113"/>
            </a:xfrm>
            <a:custGeom>
              <a:avLst/>
              <a:gdLst>
                <a:gd name="T0" fmla="*/ 78 w 204"/>
                <a:gd name="T1" fmla="*/ 170 h 204"/>
                <a:gd name="T2" fmla="*/ 73 w 204"/>
                <a:gd name="T3" fmla="*/ 177 h 204"/>
                <a:gd name="T4" fmla="*/ 38 w 204"/>
                <a:gd name="T5" fmla="*/ 169 h 204"/>
                <a:gd name="T6" fmla="*/ 31 w 204"/>
                <a:gd name="T7" fmla="*/ 135 h 204"/>
                <a:gd name="T8" fmla="*/ 37 w 204"/>
                <a:gd name="T9" fmla="*/ 129 h 204"/>
                <a:gd name="T10" fmla="*/ 46 w 204"/>
                <a:gd name="T11" fmla="*/ 131 h 204"/>
                <a:gd name="T12" fmla="*/ 76 w 204"/>
                <a:gd name="T13" fmla="*/ 161 h 204"/>
                <a:gd name="T14" fmla="*/ 78 w 204"/>
                <a:gd name="T15" fmla="*/ 170 h 204"/>
                <a:gd name="T16" fmla="*/ 166 w 204"/>
                <a:gd name="T17" fmla="*/ 0 h 204"/>
                <a:gd name="T18" fmla="*/ 85 w 204"/>
                <a:gd name="T19" fmla="*/ 80 h 204"/>
                <a:gd name="T20" fmla="*/ 64 w 204"/>
                <a:gd name="T21" fmla="*/ 76 h 204"/>
                <a:gd name="T22" fmla="*/ 0 w 204"/>
                <a:gd name="T23" fmla="*/ 140 h 204"/>
                <a:gd name="T24" fmla="*/ 64 w 204"/>
                <a:gd name="T25" fmla="*/ 204 h 204"/>
                <a:gd name="T26" fmla="*/ 128 w 204"/>
                <a:gd name="T27" fmla="*/ 140 h 204"/>
                <a:gd name="T28" fmla="*/ 124 w 204"/>
                <a:gd name="T29" fmla="*/ 119 h 204"/>
                <a:gd name="T30" fmla="*/ 128 w 204"/>
                <a:gd name="T31" fmla="*/ 115 h 204"/>
                <a:gd name="T32" fmla="*/ 128 w 204"/>
                <a:gd name="T33" fmla="*/ 89 h 204"/>
                <a:gd name="T34" fmla="*/ 153 w 204"/>
                <a:gd name="T35" fmla="*/ 89 h 204"/>
                <a:gd name="T36" fmla="*/ 153 w 204"/>
                <a:gd name="T37" fmla="*/ 64 h 204"/>
                <a:gd name="T38" fmla="*/ 179 w 204"/>
                <a:gd name="T39" fmla="*/ 64 h 204"/>
                <a:gd name="T40" fmla="*/ 179 w 204"/>
                <a:gd name="T41" fmla="*/ 38 h 204"/>
                <a:gd name="T42" fmla="*/ 204 w 204"/>
                <a:gd name="T43" fmla="*/ 38 h 204"/>
                <a:gd name="T44" fmla="*/ 204 w 204"/>
                <a:gd name="T45" fmla="*/ 0 h 204"/>
                <a:gd name="T46" fmla="*/ 166 w 204"/>
                <a:gd name="T47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4" h="204">
                  <a:moveTo>
                    <a:pt x="78" y="170"/>
                  </a:moveTo>
                  <a:cubicBezTo>
                    <a:pt x="78" y="173"/>
                    <a:pt x="76" y="175"/>
                    <a:pt x="73" y="177"/>
                  </a:cubicBezTo>
                  <a:cubicBezTo>
                    <a:pt x="61" y="181"/>
                    <a:pt x="47" y="179"/>
                    <a:pt x="38" y="169"/>
                  </a:cubicBezTo>
                  <a:cubicBezTo>
                    <a:pt x="29" y="160"/>
                    <a:pt x="26" y="146"/>
                    <a:pt x="31" y="135"/>
                  </a:cubicBezTo>
                  <a:cubicBezTo>
                    <a:pt x="32" y="132"/>
                    <a:pt x="34" y="130"/>
                    <a:pt x="37" y="129"/>
                  </a:cubicBezTo>
                  <a:cubicBezTo>
                    <a:pt x="40" y="128"/>
                    <a:pt x="44" y="129"/>
                    <a:pt x="46" y="131"/>
                  </a:cubicBezTo>
                  <a:cubicBezTo>
                    <a:pt x="76" y="161"/>
                    <a:pt x="76" y="161"/>
                    <a:pt x="76" y="161"/>
                  </a:cubicBezTo>
                  <a:cubicBezTo>
                    <a:pt x="78" y="164"/>
                    <a:pt x="79" y="167"/>
                    <a:pt x="78" y="170"/>
                  </a:cubicBezTo>
                  <a:close/>
                  <a:moveTo>
                    <a:pt x="166" y="0"/>
                  </a:moveTo>
                  <a:cubicBezTo>
                    <a:pt x="85" y="80"/>
                    <a:pt x="85" y="80"/>
                    <a:pt x="85" y="80"/>
                  </a:cubicBezTo>
                  <a:cubicBezTo>
                    <a:pt x="79" y="78"/>
                    <a:pt x="71" y="76"/>
                    <a:pt x="64" y="76"/>
                  </a:cubicBezTo>
                  <a:cubicBezTo>
                    <a:pt x="28" y="76"/>
                    <a:pt x="0" y="105"/>
                    <a:pt x="0" y="140"/>
                  </a:cubicBezTo>
                  <a:cubicBezTo>
                    <a:pt x="0" y="176"/>
                    <a:pt x="28" y="204"/>
                    <a:pt x="64" y="204"/>
                  </a:cubicBezTo>
                  <a:cubicBezTo>
                    <a:pt x="99" y="204"/>
                    <a:pt x="128" y="176"/>
                    <a:pt x="128" y="140"/>
                  </a:cubicBezTo>
                  <a:cubicBezTo>
                    <a:pt x="128" y="133"/>
                    <a:pt x="126" y="125"/>
                    <a:pt x="124" y="119"/>
                  </a:cubicBezTo>
                  <a:cubicBezTo>
                    <a:pt x="128" y="115"/>
                    <a:pt x="128" y="115"/>
                    <a:pt x="128" y="115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53" y="89"/>
                    <a:pt x="153" y="89"/>
                    <a:pt x="153" y="89"/>
                  </a:cubicBezTo>
                  <a:cubicBezTo>
                    <a:pt x="153" y="64"/>
                    <a:pt x="153" y="64"/>
                    <a:pt x="153" y="64"/>
                  </a:cubicBezTo>
                  <a:cubicBezTo>
                    <a:pt x="179" y="64"/>
                    <a:pt x="179" y="64"/>
                    <a:pt x="179" y="64"/>
                  </a:cubicBezTo>
                  <a:cubicBezTo>
                    <a:pt x="179" y="38"/>
                    <a:pt x="179" y="38"/>
                    <a:pt x="179" y="38"/>
                  </a:cubicBezTo>
                  <a:cubicBezTo>
                    <a:pt x="204" y="38"/>
                    <a:pt x="204" y="38"/>
                    <a:pt x="204" y="38"/>
                  </a:cubicBezTo>
                  <a:cubicBezTo>
                    <a:pt x="204" y="0"/>
                    <a:pt x="204" y="0"/>
                    <a:pt x="204" y="0"/>
                  </a:cubicBezTo>
                  <a:lnTo>
                    <a:pt x="166" y="0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" name="Freeform 133">
              <a:extLst>
                <a:ext uri="{FF2B5EF4-FFF2-40B4-BE49-F238E27FC236}">
                  <a16:creationId xmlns:a16="http://schemas.microsoft.com/office/drawing/2014/main" id="{F0A77843-0454-417A-B2AB-A2886CBFF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5900" y="3867150"/>
              <a:ext cx="773113" cy="708025"/>
            </a:xfrm>
            <a:custGeom>
              <a:avLst/>
              <a:gdLst>
                <a:gd name="T0" fmla="*/ 204 w 204"/>
                <a:gd name="T1" fmla="*/ 0 h 187"/>
                <a:gd name="T2" fmla="*/ 166 w 204"/>
                <a:gd name="T3" fmla="*/ 0 h 187"/>
                <a:gd name="T4" fmla="*/ 85 w 204"/>
                <a:gd name="T5" fmla="*/ 80 h 187"/>
                <a:gd name="T6" fmla="*/ 64 w 204"/>
                <a:gd name="T7" fmla="*/ 76 h 187"/>
                <a:gd name="T8" fmla="*/ 0 w 204"/>
                <a:gd name="T9" fmla="*/ 140 h 187"/>
                <a:gd name="T10" fmla="*/ 20 w 204"/>
                <a:gd name="T11" fmla="*/ 187 h 187"/>
                <a:gd name="T12" fmla="*/ 37 w 204"/>
                <a:gd name="T13" fmla="*/ 169 h 187"/>
                <a:gd name="T14" fmla="*/ 31 w 204"/>
                <a:gd name="T15" fmla="*/ 135 h 187"/>
                <a:gd name="T16" fmla="*/ 37 w 204"/>
                <a:gd name="T17" fmla="*/ 129 h 187"/>
                <a:gd name="T18" fmla="*/ 46 w 204"/>
                <a:gd name="T19" fmla="*/ 131 h 187"/>
                <a:gd name="T20" fmla="*/ 60 w 204"/>
                <a:gd name="T21" fmla="*/ 146 h 187"/>
                <a:gd name="T22" fmla="*/ 204 w 204"/>
                <a:gd name="T23" fmla="*/ 2 h 187"/>
                <a:gd name="T24" fmla="*/ 204 w 204"/>
                <a:gd name="T25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4" h="187">
                  <a:moveTo>
                    <a:pt x="204" y="0"/>
                  </a:moveTo>
                  <a:cubicBezTo>
                    <a:pt x="166" y="0"/>
                    <a:pt x="166" y="0"/>
                    <a:pt x="166" y="0"/>
                  </a:cubicBezTo>
                  <a:cubicBezTo>
                    <a:pt x="85" y="80"/>
                    <a:pt x="85" y="80"/>
                    <a:pt x="85" y="80"/>
                  </a:cubicBezTo>
                  <a:cubicBezTo>
                    <a:pt x="79" y="78"/>
                    <a:pt x="71" y="76"/>
                    <a:pt x="64" y="76"/>
                  </a:cubicBezTo>
                  <a:cubicBezTo>
                    <a:pt x="28" y="76"/>
                    <a:pt x="0" y="105"/>
                    <a:pt x="0" y="140"/>
                  </a:cubicBezTo>
                  <a:cubicBezTo>
                    <a:pt x="0" y="159"/>
                    <a:pt x="7" y="175"/>
                    <a:pt x="20" y="187"/>
                  </a:cubicBezTo>
                  <a:cubicBezTo>
                    <a:pt x="37" y="169"/>
                    <a:pt x="37" y="169"/>
                    <a:pt x="37" y="169"/>
                  </a:cubicBezTo>
                  <a:cubicBezTo>
                    <a:pt x="28" y="159"/>
                    <a:pt x="26" y="146"/>
                    <a:pt x="31" y="135"/>
                  </a:cubicBezTo>
                  <a:cubicBezTo>
                    <a:pt x="32" y="132"/>
                    <a:pt x="34" y="130"/>
                    <a:pt x="37" y="129"/>
                  </a:cubicBezTo>
                  <a:cubicBezTo>
                    <a:pt x="40" y="128"/>
                    <a:pt x="44" y="129"/>
                    <a:pt x="46" y="131"/>
                  </a:cubicBezTo>
                  <a:cubicBezTo>
                    <a:pt x="60" y="146"/>
                    <a:pt x="60" y="146"/>
                    <a:pt x="60" y="146"/>
                  </a:cubicBezTo>
                  <a:cubicBezTo>
                    <a:pt x="204" y="2"/>
                    <a:pt x="204" y="2"/>
                    <a:pt x="204" y="2"/>
                  </a:cubicBezTo>
                  <a:lnTo>
                    <a:pt x="204" y="0"/>
                  </a:lnTo>
                  <a:close/>
                </a:path>
              </a:pathLst>
            </a:custGeom>
            <a:solidFill>
              <a:srgbClr val="FBE1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" name="Freeform 134">
              <a:extLst>
                <a:ext uri="{FF2B5EF4-FFF2-40B4-BE49-F238E27FC236}">
                  <a16:creationId xmlns:a16="http://schemas.microsoft.com/office/drawing/2014/main" id="{AAF5E31C-F000-4AB4-8D6B-2CBF6D3973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55313" y="3889375"/>
              <a:ext cx="322263" cy="300038"/>
            </a:xfrm>
            <a:custGeom>
              <a:avLst/>
              <a:gdLst>
                <a:gd name="T0" fmla="*/ 2 w 85"/>
                <a:gd name="T1" fmla="*/ 77 h 79"/>
                <a:gd name="T2" fmla="*/ 2 w 85"/>
                <a:gd name="T3" fmla="*/ 70 h 79"/>
                <a:gd name="T4" fmla="*/ 72 w 85"/>
                <a:gd name="T5" fmla="*/ 0 h 79"/>
                <a:gd name="T6" fmla="*/ 85 w 85"/>
                <a:gd name="T7" fmla="*/ 0 h 79"/>
                <a:gd name="T8" fmla="*/ 8 w 85"/>
                <a:gd name="T9" fmla="*/ 77 h 79"/>
                <a:gd name="T10" fmla="*/ 2 w 85"/>
                <a:gd name="T11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9">
                  <a:moveTo>
                    <a:pt x="2" y="77"/>
                  </a:moveTo>
                  <a:cubicBezTo>
                    <a:pt x="0" y="75"/>
                    <a:pt x="0" y="72"/>
                    <a:pt x="2" y="7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" y="77"/>
                    <a:pt x="8" y="77"/>
                    <a:pt x="8" y="77"/>
                  </a:cubicBezTo>
                  <a:cubicBezTo>
                    <a:pt x="7" y="79"/>
                    <a:pt x="4" y="79"/>
                    <a:pt x="2" y="77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4E2895F4-869D-463D-AA9B-43000072DB66}"/>
              </a:ext>
            </a:extLst>
          </p:cNvPr>
          <p:cNvGrpSpPr/>
          <p:nvPr/>
        </p:nvGrpSpPr>
        <p:grpSpPr>
          <a:xfrm>
            <a:off x="6989255" y="1906667"/>
            <a:ext cx="300516" cy="300516"/>
            <a:chOff x="10369550" y="5518150"/>
            <a:chExt cx="779463" cy="779463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11" name="Freeform 231">
              <a:extLst>
                <a:ext uri="{FF2B5EF4-FFF2-40B4-BE49-F238E27FC236}">
                  <a16:creationId xmlns:a16="http://schemas.microsoft.com/office/drawing/2014/main" id="{4024316C-220A-4C4B-AE24-55C5409987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336550" cy="341313"/>
            </a:xfrm>
            <a:custGeom>
              <a:avLst/>
              <a:gdLst>
                <a:gd name="T0" fmla="*/ 89 w 89"/>
                <a:gd name="T1" fmla="*/ 26 h 90"/>
                <a:gd name="T2" fmla="*/ 33 w 89"/>
                <a:gd name="T3" fmla="*/ 83 h 90"/>
                <a:gd name="T4" fmla="*/ 7 w 89"/>
                <a:gd name="T5" fmla="*/ 83 h 90"/>
                <a:gd name="T6" fmla="*/ 7 w 89"/>
                <a:gd name="T7" fmla="*/ 57 h 90"/>
                <a:gd name="T8" fmla="*/ 64 w 89"/>
                <a:gd name="T9" fmla="*/ 0 h 90"/>
                <a:gd name="T10" fmla="*/ 89 w 89"/>
                <a:gd name="T11" fmla="*/ 2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90">
                  <a:moveTo>
                    <a:pt x="89" y="26"/>
                  </a:moveTo>
                  <a:cubicBezTo>
                    <a:pt x="33" y="83"/>
                    <a:pt x="33" y="83"/>
                    <a:pt x="33" y="83"/>
                  </a:cubicBezTo>
                  <a:cubicBezTo>
                    <a:pt x="25" y="90"/>
                    <a:pt x="14" y="90"/>
                    <a:pt x="7" y="83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0" y="11"/>
                    <a:pt x="79" y="19"/>
                    <a:pt x="89" y="26"/>
                  </a:cubicBezTo>
                  <a:close/>
                </a:path>
              </a:pathLst>
            </a:custGeom>
            <a:solidFill>
              <a:srgbClr val="844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" name="Freeform 232">
              <a:extLst>
                <a:ext uri="{FF2B5EF4-FFF2-40B4-BE49-F238E27FC236}">
                  <a16:creationId xmlns:a16="http://schemas.microsoft.com/office/drawing/2014/main" id="{BA5AC4CB-F20F-4EED-9BC9-8A1BEBFA7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284163" cy="311150"/>
            </a:xfrm>
            <a:custGeom>
              <a:avLst/>
              <a:gdLst>
                <a:gd name="T0" fmla="*/ 75 w 75"/>
                <a:gd name="T1" fmla="*/ 14 h 82"/>
                <a:gd name="T2" fmla="*/ 7 w 75"/>
                <a:gd name="T3" fmla="*/ 82 h 82"/>
                <a:gd name="T4" fmla="*/ 7 w 75"/>
                <a:gd name="T5" fmla="*/ 57 h 82"/>
                <a:gd name="T6" fmla="*/ 64 w 75"/>
                <a:gd name="T7" fmla="*/ 0 h 82"/>
                <a:gd name="T8" fmla="*/ 75 w 75"/>
                <a:gd name="T9" fmla="*/ 1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82">
                  <a:moveTo>
                    <a:pt x="75" y="14"/>
                  </a:moveTo>
                  <a:cubicBezTo>
                    <a:pt x="7" y="82"/>
                    <a:pt x="7" y="82"/>
                    <a:pt x="7" y="82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7" y="5"/>
                    <a:pt x="71" y="10"/>
                    <a:pt x="75" y="14"/>
                  </a:cubicBezTo>
                  <a:close/>
                </a:path>
              </a:pathLst>
            </a:cu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" name="Freeform 233">
              <a:extLst>
                <a:ext uri="{FF2B5EF4-FFF2-40B4-BE49-F238E27FC236}">
                  <a16:creationId xmlns:a16="http://schemas.microsoft.com/office/drawing/2014/main" id="{297E7ED0-9D64-4707-B43B-98D8C08BA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9575" y="5518150"/>
              <a:ext cx="579438" cy="577850"/>
            </a:xfrm>
            <a:custGeom>
              <a:avLst/>
              <a:gdLst>
                <a:gd name="T0" fmla="*/ 153 w 153"/>
                <a:gd name="T1" fmla="*/ 76 h 153"/>
                <a:gd name="T2" fmla="*/ 77 w 153"/>
                <a:gd name="T3" fmla="*/ 153 h 153"/>
                <a:gd name="T4" fmla="*/ 0 w 153"/>
                <a:gd name="T5" fmla="*/ 76 h 153"/>
                <a:gd name="T6" fmla="*/ 77 w 153"/>
                <a:gd name="T7" fmla="*/ 0 h 153"/>
                <a:gd name="T8" fmla="*/ 153 w 153"/>
                <a:gd name="T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cubicBezTo>
                    <a:pt x="153" y="119"/>
                    <a:pt x="119" y="153"/>
                    <a:pt x="77" y="153"/>
                  </a:cubicBezTo>
                  <a:cubicBezTo>
                    <a:pt x="34" y="153"/>
                    <a:pt x="0" y="118"/>
                    <a:pt x="0" y="76"/>
                  </a:cubicBezTo>
                  <a:cubicBezTo>
                    <a:pt x="0" y="34"/>
                    <a:pt x="34" y="0"/>
                    <a:pt x="77" y="0"/>
                  </a:cubicBezTo>
                  <a:cubicBezTo>
                    <a:pt x="119" y="0"/>
                    <a:pt x="153" y="34"/>
                    <a:pt x="153" y="76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" name="Oval 234">
              <a:extLst>
                <a:ext uri="{FF2B5EF4-FFF2-40B4-BE49-F238E27FC236}">
                  <a16:creationId xmlns:a16="http://schemas.microsoft.com/office/drawing/2014/main" id="{176AF9CC-6AB0-43E3-8D97-D53561015D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29900" y="5578475"/>
              <a:ext cx="458788" cy="457200"/>
            </a:xfrm>
            <a:prstGeom prst="ellipse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" name="Freeform 235">
              <a:extLst>
                <a:ext uri="{FF2B5EF4-FFF2-40B4-BE49-F238E27FC236}">
                  <a16:creationId xmlns:a16="http://schemas.microsoft.com/office/drawing/2014/main" id="{2DAED2D0-C874-4B79-82E4-191A9985F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9900" y="5578475"/>
              <a:ext cx="390525" cy="388938"/>
            </a:xfrm>
            <a:custGeom>
              <a:avLst/>
              <a:gdLst>
                <a:gd name="T0" fmla="*/ 0 w 103"/>
                <a:gd name="T1" fmla="*/ 60 h 103"/>
                <a:gd name="T2" fmla="*/ 61 w 103"/>
                <a:gd name="T3" fmla="*/ 0 h 103"/>
                <a:gd name="T4" fmla="*/ 103 w 103"/>
                <a:gd name="T5" fmla="*/ 17 h 103"/>
                <a:gd name="T6" fmla="*/ 17 w 103"/>
                <a:gd name="T7" fmla="*/ 103 h 103"/>
                <a:gd name="T8" fmla="*/ 0 w 103"/>
                <a:gd name="T9" fmla="*/ 6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103">
                  <a:moveTo>
                    <a:pt x="0" y="60"/>
                  </a:moveTo>
                  <a:cubicBezTo>
                    <a:pt x="0" y="27"/>
                    <a:pt x="27" y="0"/>
                    <a:pt x="61" y="0"/>
                  </a:cubicBezTo>
                  <a:cubicBezTo>
                    <a:pt x="77" y="0"/>
                    <a:pt x="92" y="6"/>
                    <a:pt x="103" y="17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6" y="92"/>
                    <a:pt x="0" y="77"/>
                    <a:pt x="0" y="60"/>
                  </a:cubicBezTo>
                  <a:close/>
                </a:path>
              </a:pathLst>
            </a:cu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35B869ED-FC31-E7B7-6E4A-A05A8BA4CC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0909" y="2214366"/>
            <a:ext cx="2618689" cy="2691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6" name="Group 115">
            <a:extLst>
              <a:ext uri="{FF2B5EF4-FFF2-40B4-BE49-F238E27FC236}">
                <a16:creationId xmlns:a16="http://schemas.microsoft.com/office/drawing/2014/main" id="{B4BD853B-6134-4A63-86FE-E2CB0B88D5EE}"/>
              </a:ext>
            </a:extLst>
          </p:cNvPr>
          <p:cNvGrpSpPr/>
          <p:nvPr/>
        </p:nvGrpSpPr>
        <p:grpSpPr>
          <a:xfrm>
            <a:off x="4172087" y="3294627"/>
            <a:ext cx="297457" cy="298074"/>
            <a:chOff x="8347096" y="2216191"/>
            <a:chExt cx="771526" cy="773127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18" name="Freeform 98">
              <a:extLst>
                <a:ext uri="{FF2B5EF4-FFF2-40B4-BE49-F238E27FC236}">
                  <a16:creationId xmlns:a16="http://schemas.microsoft.com/office/drawing/2014/main" id="{D1B14280-FD6D-4910-8682-15CEDF235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3646" y="2409870"/>
              <a:ext cx="434976" cy="579448"/>
            </a:xfrm>
            <a:custGeom>
              <a:avLst/>
              <a:gdLst>
                <a:gd name="T0" fmla="*/ 0 w 115"/>
                <a:gd name="T1" fmla="*/ 9 h 153"/>
                <a:gd name="T2" fmla="*/ 9 w 115"/>
                <a:gd name="T3" fmla="*/ 0 h 153"/>
                <a:gd name="T4" fmla="*/ 77 w 115"/>
                <a:gd name="T5" fmla="*/ 0 h 153"/>
                <a:gd name="T6" fmla="*/ 115 w 115"/>
                <a:gd name="T7" fmla="*/ 32 h 153"/>
                <a:gd name="T8" fmla="*/ 115 w 115"/>
                <a:gd name="T9" fmla="*/ 144 h 153"/>
                <a:gd name="T10" fmla="*/ 106 w 115"/>
                <a:gd name="T11" fmla="*/ 153 h 153"/>
                <a:gd name="T12" fmla="*/ 9 w 115"/>
                <a:gd name="T13" fmla="*/ 153 h 153"/>
                <a:gd name="T14" fmla="*/ 0 w 115"/>
                <a:gd name="T15" fmla="*/ 144 h 153"/>
                <a:gd name="T16" fmla="*/ 0 w 115"/>
                <a:gd name="T17" fmla="*/ 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153">
                  <a:moveTo>
                    <a:pt x="0" y="9"/>
                  </a:moveTo>
                  <a:cubicBezTo>
                    <a:pt x="0" y="4"/>
                    <a:pt x="4" y="0"/>
                    <a:pt x="9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115" y="32"/>
                    <a:pt x="115" y="32"/>
                    <a:pt x="115" y="32"/>
                  </a:cubicBezTo>
                  <a:cubicBezTo>
                    <a:pt x="115" y="144"/>
                    <a:pt x="115" y="144"/>
                    <a:pt x="115" y="144"/>
                  </a:cubicBezTo>
                  <a:cubicBezTo>
                    <a:pt x="115" y="149"/>
                    <a:pt x="111" y="153"/>
                    <a:pt x="106" y="153"/>
                  </a:cubicBezTo>
                  <a:cubicBezTo>
                    <a:pt x="9" y="153"/>
                    <a:pt x="9" y="153"/>
                    <a:pt x="9" y="153"/>
                  </a:cubicBezTo>
                  <a:cubicBezTo>
                    <a:pt x="4" y="153"/>
                    <a:pt x="0" y="149"/>
                    <a:pt x="0" y="144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9" name="Freeform 99">
              <a:extLst>
                <a:ext uri="{FF2B5EF4-FFF2-40B4-BE49-F238E27FC236}">
                  <a16:creationId xmlns:a16="http://schemas.microsoft.com/office/drawing/2014/main" id="{6FC608FF-9416-43B6-A111-721D6CFEA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5747" y="2409870"/>
              <a:ext cx="142875" cy="120652"/>
            </a:xfrm>
            <a:custGeom>
              <a:avLst/>
              <a:gdLst>
                <a:gd name="T0" fmla="*/ 0 w 38"/>
                <a:gd name="T1" fmla="*/ 0 h 32"/>
                <a:gd name="T2" fmla="*/ 0 w 38"/>
                <a:gd name="T3" fmla="*/ 23 h 32"/>
                <a:gd name="T4" fmla="*/ 9 w 38"/>
                <a:gd name="T5" fmla="*/ 32 h 32"/>
                <a:gd name="T6" fmla="*/ 38 w 3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32">
                  <a:moveTo>
                    <a:pt x="0" y="0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28"/>
                    <a:pt x="4" y="32"/>
                    <a:pt x="9" y="32"/>
                  </a:cubicBezTo>
                  <a:cubicBezTo>
                    <a:pt x="38" y="32"/>
                    <a:pt x="38" y="32"/>
                    <a:pt x="38" y="32"/>
                  </a:cubicBezTo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0" name="Freeform 100">
              <a:extLst>
                <a:ext uri="{FF2B5EF4-FFF2-40B4-BE49-F238E27FC236}">
                  <a16:creationId xmlns:a16="http://schemas.microsoft.com/office/drawing/2014/main" id="{44DF7B3B-18C0-47B8-9085-4788105B4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59" y="2552747"/>
              <a:ext cx="131763" cy="26988"/>
            </a:xfrm>
            <a:custGeom>
              <a:avLst/>
              <a:gdLst>
                <a:gd name="T0" fmla="*/ 35 w 35"/>
                <a:gd name="T1" fmla="*/ 3 h 7"/>
                <a:gd name="T2" fmla="*/ 32 w 35"/>
                <a:gd name="T3" fmla="*/ 7 h 7"/>
                <a:gd name="T4" fmla="*/ 3 w 35"/>
                <a:gd name="T5" fmla="*/ 7 h 7"/>
                <a:gd name="T6" fmla="*/ 0 w 35"/>
                <a:gd name="T7" fmla="*/ 3 h 7"/>
                <a:gd name="T8" fmla="*/ 3 w 35"/>
                <a:gd name="T9" fmla="*/ 0 h 7"/>
                <a:gd name="T10" fmla="*/ 32 w 35"/>
                <a:gd name="T11" fmla="*/ 0 h 7"/>
                <a:gd name="T12" fmla="*/ 35 w 35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7">
                  <a:moveTo>
                    <a:pt x="35" y="3"/>
                  </a:moveTo>
                  <a:cubicBezTo>
                    <a:pt x="35" y="5"/>
                    <a:pt x="33" y="7"/>
                    <a:pt x="3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3" y="0"/>
                    <a:pt x="35" y="2"/>
                    <a:pt x="35" y="3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" name="Freeform 101">
              <a:extLst>
                <a:ext uri="{FF2B5EF4-FFF2-40B4-BE49-F238E27FC236}">
                  <a16:creationId xmlns:a16="http://schemas.microsoft.com/office/drawing/2014/main" id="{4366E66B-5EFF-464D-A497-3D6BE944B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59" y="2651174"/>
              <a:ext cx="276226" cy="23813"/>
            </a:xfrm>
            <a:custGeom>
              <a:avLst/>
              <a:gdLst>
                <a:gd name="T0" fmla="*/ 73 w 73"/>
                <a:gd name="T1" fmla="*/ 3 h 6"/>
                <a:gd name="T2" fmla="*/ 70 w 73"/>
                <a:gd name="T3" fmla="*/ 6 h 6"/>
                <a:gd name="T4" fmla="*/ 3 w 73"/>
                <a:gd name="T5" fmla="*/ 6 h 6"/>
                <a:gd name="T6" fmla="*/ 0 w 73"/>
                <a:gd name="T7" fmla="*/ 3 h 6"/>
                <a:gd name="T8" fmla="*/ 3 w 73"/>
                <a:gd name="T9" fmla="*/ 0 h 6"/>
                <a:gd name="T10" fmla="*/ 70 w 73"/>
                <a:gd name="T11" fmla="*/ 0 h 6"/>
                <a:gd name="T12" fmla="*/ 73 w 7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6">
                  <a:moveTo>
                    <a:pt x="73" y="3"/>
                  </a:moveTo>
                  <a:cubicBezTo>
                    <a:pt x="73" y="5"/>
                    <a:pt x="72" y="6"/>
                    <a:pt x="7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3" y="1"/>
                    <a:pt x="73" y="3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2" name="Freeform 102">
              <a:extLst>
                <a:ext uri="{FF2B5EF4-FFF2-40B4-BE49-F238E27FC236}">
                  <a16:creationId xmlns:a16="http://schemas.microsoft.com/office/drawing/2014/main" id="{3F3019FC-0AD6-4BBC-ADB4-05B2761C19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59" y="2746426"/>
              <a:ext cx="276226" cy="26988"/>
            </a:xfrm>
            <a:custGeom>
              <a:avLst/>
              <a:gdLst>
                <a:gd name="T0" fmla="*/ 73 w 73"/>
                <a:gd name="T1" fmla="*/ 4 h 7"/>
                <a:gd name="T2" fmla="*/ 70 w 73"/>
                <a:gd name="T3" fmla="*/ 7 h 7"/>
                <a:gd name="T4" fmla="*/ 3 w 73"/>
                <a:gd name="T5" fmla="*/ 7 h 7"/>
                <a:gd name="T6" fmla="*/ 0 w 73"/>
                <a:gd name="T7" fmla="*/ 4 h 7"/>
                <a:gd name="T8" fmla="*/ 3 w 73"/>
                <a:gd name="T9" fmla="*/ 0 h 7"/>
                <a:gd name="T10" fmla="*/ 70 w 73"/>
                <a:gd name="T11" fmla="*/ 0 h 7"/>
                <a:gd name="T12" fmla="*/ 73 w 73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7">
                  <a:moveTo>
                    <a:pt x="73" y="4"/>
                  </a:moveTo>
                  <a:cubicBezTo>
                    <a:pt x="73" y="5"/>
                    <a:pt x="72" y="7"/>
                    <a:pt x="70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3" y="2"/>
                    <a:pt x="73" y="4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3" name="Freeform 103">
              <a:extLst>
                <a:ext uri="{FF2B5EF4-FFF2-40B4-BE49-F238E27FC236}">
                  <a16:creationId xmlns:a16="http://schemas.microsoft.com/office/drawing/2014/main" id="{CCD74C9C-CA16-4131-A253-28AB572DC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59" y="2844853"/>
              <a:ext cx="276226" cy="22225"/>
            </a:xfrm>
            <a:custGeom>
              <a:avLst/>
              <a:gdLst>
                <a:gd name="T0" fmla="*/ 73 w 73"/>
                <a:gd name="T1" fmla="*/ 3 h 6"/>
                <a:gd name="T2" fmla="*/ 70 w 73"/>
                <a:gd name="T3" fmla="*/ 6 h 6"/>
                <a:gd name="T4" fmla="*/ 3 w 73"/>
                <a:gd name="T5" fmla="*/ 6 h 6"/>
                <a:gd name="T6" fmla="*/ 0 w 73"/>
                <a:gd name="T7" fmla="*/ 3 h 6"/>
                <a:gd name="T8" fmla="*/ 3 w 73"/>
                <a:gd name="T9" fmla="*/ 0 h 6"/>
                <a:gd name="T10" fmla="*/ 70 w 73"/>
                <a:gd name="T11" fmla="*/ 0 h 6"/>
                <a:gd name="T12" fmla="*/ 73 w 7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6">
                  <a:moveTo>
                    <a:pt x="73" y="3"/>
                  </a:moveTo>
                  <a:cubicBezTo>
                    <a:pt x="73" y="5"/>
                    <a:pt x="72" y="6"/>
                    <a:pt x="7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3" y="1"/>
                    <a:pt x="73" y="3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" name="Freeform 104">
              <a:extLst>
                <a:ext uri="{FF2B5EF4-FFF2-40B4-BE49-F238E27FC236}">
                  <a16:creationId xmlns:a16="http://schemas.microsoft.com/office/drawing/2014/main" id="{EFF72B99-23E8-4299-98BA-8C6684B15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47096" y="2216191"/>
              <a:ext cx="434976" cy="579448"/>
            </a:xfrm>
            <a:custGeom>
              <a:avLst/>
              <a:gdLst>
                <a:gd name="T0" fmla="*/ 0 w 115"/>
                <a:gd name="T1" fmla="*/ 9 h 153"/>
                <a:gd name="T2" fmla="*/ 9 w 115"/>
                <a:gd name="T3" fmla="*/ 0 h 153"/>
                <a:gd name="T4" fmla="*/ 76 w 115"/>
                <a:gd name="T5" fmla="*/ 0 h 153"/>
                <a:gd name="T6" fmla="*/ 115 w 115"/>
                <a:gd name="T7" fmla="*/ 32 h 153"/>
                <a:gd name="T8" fmla="*/ 115 w 115"/>
                <a:gd name="T9" fmla="*/ 144 h 153"/>
                <a:gd name="T10" fmla="*/ 106 w 115"/>
                <a:gd name="T11" fmla="*/ 153 h 153"/>
                <a:gd name="T12" fmla="*/ 9 w 115"/>
                <a:gd name="T13" fmla="*/ 153 h 153"/>
                <a:gd name="T14" fmla="*/ 0 w 115"/>
                <a:gd name="T15" fmla="*/ 144 h 153"/>
                <a:gd name="T16" fmla="*/ 0 w 115"/>
                <a:gd name="T17" fmla="*/ 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153">
                  <a:moveTo>
                    <a:pt x="0" y="9"/>
                  </a:moveTo>
                  <a:cubicBezTo>
                    <a:pt x="0" y="4"/>
                    <a:pt x="4" y="0"/>
                    <a:pt x="9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115" y="32"/>
                    <a:pt x="115" y="32"/>
                    <a:pt x="115" y="32"/>
                  </a:cubicBezTo>
                  <a:cubicBezTo>
                    <a:pt x="115" y="144"/>
                    <a:pt x="115" y="144"/>
                    <a:pt x="115" y="144"/>
                  </a:cubicBezTo>
                  <a:cubicBezTo>
                    <a:pt x="115" y="149"/>
                    <a:pt x="111" y="153"/>
                    <a:pt x="106" y="153"/>
                  </a:cubicBezTo>
                  <a:cubicBezTo>
                    <a:pt x="9" y="153"/>
                    <a:pt x="9" y="153"/>
                    <a:pt x="9" y="153"/>
                  </a:cubicBezTo>
                  <a:cubicBezTo>
                    <a:pt x="4" y="153"/>
                    <a:pt x="0" y="149"/>
                    <a:pt x="0" y="144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5" name="Freeform 105">
              <a:extLst>
                <a:ext uri="{FF2B5EF4-FFF2-40B4-BE49-F238E27FC236}">
                  <a16:creationId xmlns:a16="http://schemas.microsoft.com/office/drawing/2014/main" id="{EF83E240-EADB-46C5-B193-96613F2A0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4434" y="2216191"/>
              <a:ext cx="147638" cy="120652"/>
            </a:xfrm>
            <a:custGeom>
              <a:avLst/>
              <a:gdLst>
                <a:gd name="T0" fmla="*/ 0 w 39"/>
                <a:gd name="T1" fmla="*/ 0 h 32"/>
                <a:gd name="T2" fmla="*/ 0 w 39"/>
                <a:gd name="T3" fmla="*/ 23 h 32"/>
                <a:gd name="T4" fmla="*/ 10 w 39"/>
                <a:gd name="T5" fmla="*/ 32 h 32"/>
                <a:gd name="T6" fmla="*/ 39 w 39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32">
                  <a:moveTo>
                    <a:pt x="0" y="0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28"/>
                    <a:pt x="5" y="32"/>
                    <a:pt x="10" y="32"/>
                  </a:cubicBezTo>
                  <a:cubicBezTo>
                    <a:pt x="39" y="32"/>
                    <a:pt x="39" y="32"/>
                    <a:pt x="39" y="32"/>
                  </a:cubicBezTo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6" name="Freeform 106">
              <a:extLst>
                <a:ext uri="{FF2B5EF4-FFF2-40B4-BE49-F238E27FC236}">
                  <a16:creationId xmlns:a16="http://schemas.microsoft.com/office/drawing/2014/main" id="{F4160EAD-CDC5-4532-B187-B290FB5CC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233" y="2360656"/>
              <a:ext cx="131763" cy="22225"/>
            </a:xfrm>
            <a:custGeom>
              <a:avLst/>
              <a:gdLst>
                <a:gd name="T0" fmla="*/ 35 w 35"/>
                <a:gd name="T1" fmla="*/ 3 h 6"/>
                <a:gd name="T2" fmla="*/ 32 w 35"/>
                <a:gd name="T3" fmla="*/ 6 h 6"/>
                <a:gd name="T4" fmla="*/ 3 w 35"/>
                <a:gd name="T5" fmla="*/ 6 h 6"/>
                <a:gd name="T6" fmla="*/ 0 w 35"/>
                <a:gd name="T7" fmla="*/ 3 h 6"/>
                <a:gd name="T8" fmla="*/ 3 w 35"/>
                <a:gd name="T9" fmla="*/ 0 h 6"/>
                <a:gd name="T10" fmla="*/ 32 w 35"/>
                <a:gd name="T11" fmla="*/ 0 h 6"/>
                <a:gd name="T12" fmla="*/ 35 w 35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6">
                  <a:moveTo>
                    <a:pt x="35" y="3"/>
                  </a:moveTo>
                  <a:cubicBezTo>
                    <a:pt x="35" y="5"/>
                    <a:pt x="34" y="6"/>
                    <a:pt x="3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4" y="0"/>
                    <a:pt x="35" y="1"/>
                    <a:pt x="35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7" name="Freeform 107">
              <a:extLst>
                <a:ext uri="{FF2B5EF4-FFF2-40B4-BE49-F238E27FC236}">
                  <a16:creationId xmlns:a16="http://schemas.microsoft.com/office/drawing/2014/main" id="{AC6F67CD-2CE5-4A3F-A2A4-3475CDC474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233" y="2459083"/>
              <a:ext cx="279401" cy="22225"/>
            </a:xfrm>
            <a:custGeom>
              <a:avLst/>
              <a:gdLst>
                <a:gd name="T0" fmla="*/ 74 w 74"/>
                <a:gd name="T1" fmla="*/ 3 h 6"/>
                <a:gd name="T2" fmla="*/ 70 w 74"/>
                <a:gd name="T3" fmla="*/ 6 h 6"/>
                <a:gd name="T4" fmla="*/ 3 w 74"/>
                <a:gd name="T5" fmla="*/ 6 h 6"/>
                <a:gd name="T6" fmla="*/ 0 w 74"/>
                <a:gd name="T7" fmla="*/ 3 h 6"/>
                <a:gd name="T8" fmla="*/ 3 w 74"/>
                <a:gd name="T9" fmla="*/ 0 h 6"/>
                <a:gd name="T10" fmla="*/ 70 w 74"/>
                <a:gd name="T11" fmla="*/ 0 h 6"/>
                <a:gd name="T12" fmla="*/ 74 w 7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6">
                  <a:moveTo>
                    <a:pt x="74" y="3"/>
                  </a:moveTo>
                  <a:cubicBezTo>
                    <a:pt x="74" y="5"/>
                    <a:pt x="72" y="6"/>
                    <a:pt x="7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1"/>
                    <a:pt x="7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8" name="Freeform 108">
              <a:extLst>
                <a:ext uri="{FF2B5EF4-FFF2-40B4-BE49-F238E27FC236}">
                  <a16:creationId xmlns:a16="http://schemas.microsoft.com/office/drawing/2014/main" id="{B78BCEA5-FA49-46AF-A3A9-52FF835C9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233" y="2552747"/>
              <a:ext cx="279401" cy="26988"/>
            </a:xfrm>
            <a:custGeom>
              <a:avLst/>
              <a:gdLst>
                <a:gd name="T0" fmla="*/ 74 w 74"/>
                <a:gd name="T1" fmla="*/ 3 h 7"/>
                <a:gd name="T2" fmla="*/ 70 w 74"/>
                <a:gd name="T3" fmla="*/ 7 h 7"/>
                <a:gd name="T4" fmla="*/ 3 w 74"/>
                <a:gd name="T5" fmla="*/ 7 h 7"/>
                <a:gd name="T6" fmla="*/ 0 w 74"/>
                <a:gd name="T7" fmla="*/ 3 h 7"/>
                <a:gd name="T8" fmla="*/ 3 w 74"/>
                <a:gd name="T9" fmla="*/ 0 h 7"/>
                <a:gd name="T10" fmla="*/ 70 w 74"/>
                <a:gd name="T11" fmla="*/ 0 h 7"/>
                <a:gd name="T12" fmla="*/ 74 w 74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7">
                  <a:moveTo>
                    <a:pt x="74" y="3"/>
                  </a:moveTo>
                  <a:cubicBezTo>
                    <a:pt x="74" y="5"/>
                    <a:pt x="72" y="7"/>
                    <a:pt x="70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2"/>
                    <a:pt x="7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9" name="Freeform 109">
              <a:extLst>
                <a:ext uri="{FF2B5EF4-FFF2-40B4-BE49-F238E27FC236}">
                  <a16:creationId xmlns:a16="http://schemas.microsoft.com/office/drawing/2014/main" id="{E319D93C-5926-4B80-A03A-D064A314E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233" y="2651174"/>
              <a:ext cx="279401" cy="23813"/>
            </a:xfrm>
            <a:custGeom>
              <a:avLst/>
              <a:gdLst>
                <a:gd name="T0" fmla="*/ 74 w 74"/>
                <a:gd name="T1" fmla="*/ 3 h 6"/>
                <a:gd name="T2" fmla="*/ 70 w 74"/>
                <a:gd name="T3" fmla="*/ 6 h 6"/>
                <a:gd name="T4" fmla="*/ 3 w 74"/>
                <a:gd name="T5" fmla="*/ 6 h 6"/>
                <a:gd name="T6" fmla="*/ 0 w 74"/>
                <a:gd name="T7" fmla="*/ 3 h 6"/>
                <a:gd name="T8" fmla="*/ 3 w 74"/>
                <a:gd name="T9" fmla="*/ 0 h 6"/>
                <a:gd name="T10" fmla="*/ 70 w 74"/>
                <a:gd name="T11" fmla="*/ 0 h 6"/>
                <a:gd name="T12" fmla="*/ 74 w 7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6">
                  <a:moveTo>
                    <a:pt x="74" y="3"/>
                  </a:moveTo>
                  <a:cubicBezTo>
                    <a:pt x="74" y="5"/>
                    <a:pt x="72" y="6"/>
                    <a:pt x="7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1"/>
                    <a:pt x="7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7CAE2D2C-1B54-46BC-BEE5-39F718F1304A}"/>
              </a:ext>
            </a:extLst>
          </p:cNvPr>
          <p:cNvGrpSpPr/>
          <p:nvPr/>
        </p:nvGrpSpPr>
        <p:grpSpPr>
          <a:xfrm>
            <a:off x="6997824" y="4737799"/>
            <a:ext cx="283378" cy="299294"/>
            <a:chOff x="4686300" y="2212975"/>
            <a:chExt cx="735013" cy="776288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32" name="Freeform 103">
              <a:extLst>
                <a:ext uri="{FF2B5EF4-FFF2-40B4-BE49-F238E27FC236}">
                  <a16:creationId xmlns:a16="http://schemas.microsoft.com/office/drawing/2014/main" id="{E6310E47-CAAA-40AB-906D-1CBAE7015D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6300" y="2224088"/>
              <a:ext cx="735013" cy="765175"/>
            </a:xfrm>
            <a:custGeom>
              <a:avLst/>
              <a:gdLst>
                <a:gd name="T0" fmla="*/ 463 w 463"/>
                <a:gd name="T1" fmla="*/ 305 h 482"/>
                <a:gd name="T2" fmla="*/ 391 w 463"/>
                <a:gd name="T3" fmla="*/ 0 h 482"/>
                <a:gd name="T4" fmla="*/ 0 w 463"/>
                <a:gd name="T5" fmla="*/ 90 h 482"/>
                <a:gd name="T6" fmla="*/ 93 w 463"/>
                <a:gd name="T7" fmla="*/ 482 h 482"/>
                <a:gd name="T8" fmla="*/ 398 w 463"/>
                <a:gd name="T9" fmla="*/ 410 h 482"/>
                <a:gd name="T10" fmla="*/ 463 w 463"/>
                <a:gd name="T11" fmla="*/ 305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3" h="482">
                  <a:moveTo>
                    <a:pt x="463" y="305"/>
                  </a:moveTo>
                  <a:lnTo>
                    <a:pt x="391" y="0"/>
                  </a:lnTo>
                  <a:lnTo>
                    <a:pt x="0" y="90"/>
                  </a:lnTo>
                  <a:lnTo>
                    <a:pt x="93" y="482"/>
                  </a:lnTo>
                  <a:lnTo>
                    <a:pt x="398" y="410"/>
                  </a:lnTo>
                  <a:lnTo>
                    <a:pt x="463" y="305"/>
                  </a:lnTo>
                  <a:close/>
                </a:path>
              </a:pathLst>
            </a:custGeom>
            <a:solidFill>
              <a:srgbClr val="FBEC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3" name="Freeform 104">
              <a:extLst>
                <a:ext uri="{FF2B5EF4-FFF2-40B4-BE49-F238E27FC236}">
                  <a16:creationId xmlns:a16="http://schemas.microsoft.com/office/drawing/2014/main" id="{25B04500-8346-42EE-ACDA-EFCA432F42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963" y="2708275"/>
              <a:ext cx="133350" cy="163513"/>
            </a:xfrm>
            <a:custGeom>
              <a:avLst/>
              <a:gdLst>
                <a:gd name="T0" fmla="*/ 84 w 84"/>
                <a:gd name="T1" fmla="*/ 0 h 103"/>
                <a:gd name="T2" fmla="*/ 22 w 84"/>
                <a:gd name="T3" fmla="*/ 103 h 103"/>
                <a:gd name="T4" fmla="*/ 0 w 84"/>
                <a:gd name="T5" fmla="*/ 19 h 103"/>
                <a:gd name="T6" fmla="*/ 84 w 84"/>
                <a:gd name="T7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103">
                  <a:moveTo>
                    <a:pt x="84" y="0"/>
                  </a:moveTo>
                  <a:lnTo>
                    <a:pt x="22" y="103"/>
                  </a:lnTo>
                  <a:lnTo>
                    <a:pt x="0" y="19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FBE1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4" name="Freeform 105">
              <a:extLst>
                <a:ext uri="{FF2B5EF4-FFF2-40B4-BE49-F238E27FC236}">
                  <a16:creationId xmlns:a16="http://schemas.microsoft.com/office/drawing/2014/main" id="{999BE749-28C2-4049-940A-0CC792615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875" y="2492375"/>
              <a:ext cx="377825" cy="109538"/>
            </a:xfrm>
            <a:custGeom>
              <a:avLst/>
              <a:gdLst>
                <a:gd name="T0" fmla="*/ 100 w 100"/>
                <a:gd name="T1" fmla="*/ 3 h 29"/>
                <a:gd name="T2" fmla="*/ 98 w 100"/>
                <a:gd name="T3" fmla="*/ 6 h 29"/>
                <a:gd name="T4" fmla="*/ 4 w 100"/>
                <a:gd name="T5" fmla="*/ 29 h 29"/>
                <a:gd name="T6" fmla="*/ 0 w 100"/>
                <a:gd name="T7" fmla="*/ 27 h 29"/>
                <a:gd name="T8" fmla="*/ 3 w 100"/>
                <a:gd name="T9" fmla="*/ 23 h 29"/>
                <a:gd name="T10" fmla="*/ 96 w 100"/>
                <a:gd name="T11" fmla="*/ 0 h 29"/>
                <a:gd name="T12" fmla="*/ 100 w 100"/>
                <a:gd name="T13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29">
                  <a:moveTo>
                    <a:pt x="100" y="3"/>
                  </a:moveTo>
                  <a:cubicBezTo>
                    <a:pt x="100" y="4"/>
                    <a:pt x="99" y="6"/>
                    <a:pt x="98" y="6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2" y="29"/>
                    <a:pt x="1" y="28"/>
                    <a:pt x="0" y="27"/>
                  </a:cubicBezTo>
                  <a:cubicBezTo>
                    <a:pt x="0" y="25"/>
                    <a:pt x="1" y="23"/>
                    <a:pt x="3" y="23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8" y="0"/>
                    <a:pt x="99" y="1"/>
                    <a:pt x="100" y="3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5" name="Freeform 106">
              <a:extLst>
                <a:ext uri="{FF2B5EF4-FFF2-40B4-BE49-F238E27FC236}">
                  <a16:creationId xmlns:a16="http://schemas.microsoft.com/office/drawing/2014/main" id="{B02CD025-24FB-42D4-B5A7-A90ACD80A8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4100" y="2587625"/>
              <a:ext cx="379413" cy="109538"/>
            </a:xfrm>
            <a:custGeom>
              <a:avLst/>
              <a:gdLst>
                <a:gd name="T0" fmla="*/ 100 w 100"/>
                <a:gd name="T1" fmla="*/ 3 h 29"/>
                <a:gd name="T2" fmla="*/ 98 w 100"/>
                <a:gd name="T3" fmla="*/ 6 h 29"/>
                <a:gd name="T4" fmla="*/ 4 w 100"/>
                <a:gd name="T5" fmla="*/ 29 h 29"/>
                <a:gd name="T6" fmla="*/ 0 w 100"/>
                <a:gd name="T7" fmla="*/ 26 h 29"/>
                <a:gd name="T8" fmla="*/ 3 w 100"/>
                <a:gd name="T9" fmla="*/ 23 h 29"/>
                <a:gd name="T10" fmla="*/ 96 w 100"/>
                <a:gd name="T11" fmla="*/ 0 h 29"/>
                <a:gd name="T12" fmla="*/ 100 w 100"/>
                <a:gd name="T13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29">
                  <a:moveTo>
                    <a:pt x="100" y="3"/>
                  </a:moveTo>
                  <a:cubicBezTo>
                    <a:pt x="100" y="4"/>
                    <a:pt x="99" y="6"/>
                    <a:pt x="98" y="6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2" y="29"/>
                    <a:pt x="1" y="28"/>
                    <a:pt x="0" y="26"/>
                  </a:cubicBezTo>
                  <a:cubicBezTo>
                    <a:pt x="0" y="25"/>
                    <a:pt x="1" y="23"/>
                    <a:pt x="3" y="23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8" y="0"/>
                    <a:pt x="99" y="1"/>
                    <a:pt x="100" y="3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6" name="Freeform 107">
              <a:extLst>
                <a:ext uri="{FF2B5EF4-FFF2-40B4-BE49-F238E27FC236}">
                  <a16:creationId xmlns:a16="http://schemas.microsoft.com/office/drawing/2014/main" id="{05A39CC2-3646-4A8D-8E35-F7C5CFE44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6325" y="2705100"/>
              <a:ext cx="284163" cy="87313"/>
            </a:xfrm>
            <a:custGeom>
              <a:avLst/>
              <a:gdLst>
                <a:gd name="T0" fmla="*/ 75 w 75"/>
                <a:gd name="T1" fmla="*/ 2 h 23"/>
                <a:gd name="T2" fmla="*/ 73 w 75"/>
                <a:gd name="T3" fmla="*/ 6 h 23"/>
                <a:gd name="T4" fmla="*/ 4 w 75"/>
                <a:gd name="T5" fmla="*/ 23 h 23"/>
                <a:gd name="T6" fmla="*/ 0 w 75"/>
                <a:gd name="T7" fmla="*/ 20 h 23"/>
                <a:gd name="T8" fmla="*/ 3 w 75"/>
                <a:gd name="T9" fmla="*/ 17 h 23"/>
                <a:gd name="T10" fmla="*/ 71 w 75"/>
                <a:gd name="T11" fmla="*/ 0 h 23"/>
                <a:gd name="T12" fmla="*/ 75 w 75"/>
                <a:gd name="T13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23">
                  <a:moveTo>
                    <a:pt x="75" y="2"/>
                  </a:moveTo>
                  <a:cubicBezTo>
                    <a:pt x="75" y="4"/>
                    <a:pt x="74" y="6"/>
                    <a:pt x="73" y="6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1" y="22"/>
                    <a:pt x="0" y="20"/>
                  </a:cubicBezTo>
                  <a:cubicBezTo>
                    <a:pt x="0" y="19"/>
                    <a:pt x="1" y="17"/>
                    <a:pt x="3" y="17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3" y="0"/>
                    <a:pt x="75" y="1"/>
                    <a:pt x="75" y="2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7" name="Freeform 108">
              <a:extLst>
                <a:ext uri="{FF2B5EF4-FFF2-40B4-BE49-F238E27FC236}">
                  <a16:creationId xmlns:a16="http://schemas.microsoft.com/office/drawing/2014/main" id="{70AF8650-EB09-4787-B825-A5D7B7B33D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3800" y="2355850"/>
              <a:ext cx="46038" cy="125413"/>
            </a:xfrm>
            <a:custGeom>
              <a:avLst/>
              <a:gdLst>
                <a:gd name="T0" fmla="*/ 6 w 12"/>
                <a:gd name="T1" fmla="*/ 1 h 33"/>
                <a:gd name="T2" fmla="*/ 0 w 12"/>
                <a:gd name="T3" fmla="*/ 0 h 33"/>
                <a:gd name="T4" fmla="*/ 0 w 12"/>
                <a:gd name="T5" fmla="*/ 26 h 33"/>
                <a:gd name="T6" fmla="*/ 6 w 12"/>
                <a:gd name="T7" fmla="*/ 33 h 33"/>
                <a:gd name="T8" fmla="*/ 12 w 12"/>
                <a:gd name="T9" fmla="*/ 26 h 33"/>
                <a:gd name="T10" fmla="*/ 12 w 12"/>
                <a:gd name="T11" fmla="*/ 0 h 33"/>
                <a:gd name="T12" fmla="*/ 6 w 12"/>
                <a:gd name="T13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3">
                  <a:moveTo>
                    <a:pt x="6" y="1"/>
                  </a:moveTo>
                  <a:cubicBezTo>
                    <a:pt x="4" y="1"/>
                    <a:pt x="2" y="0"/>
                    <a:pt x="0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0"/>
                    <a:pt x="2" y="33"/>
                    <a:pt x="6" y="33"/>
                  </a:cubicBezTo>
                  <a:cubicBezTo>
                    <a:pt x="10" y="33"/>
                    <a:pt x="12" y="30"/>
                    <a:pt x="12" y="2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0" y="0"/>
                    <a:pt x="8" y="1"/>
                    <a:pt x="6" y="1"/>
                  </a:cubicBezTo>
                  <a:close/>
                </a:path>
              </a:pathLst>
            </a:custGeom>
            <a:solidFill>
              <a:srgbClr val="B6BC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8" name="Oval 109">
              <a:extLst>
                <a:ext uri="{FF2B5EF4-FFF2-40B4-BE49-F238E27FC236}">
                  <a16:creationId xmlns:a16="http://schemas.microsoft.com/office/drawing/2014/main" id="{F4E0B1D8-B251-4061-9813-8BF427DA61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54588" y="2212975"/>
              <a:ext cx="144463" cy="147638"/>
            </a:xfrm>
            <a:prstGeom prst="ellipse">
              <a:avLst/>
            </a:pr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9" name="Freeform 110">
              <a:extLst>
                <a:ext uri="{FF2B5EF4-FFF2-40B4-BE49-F238E27FC236}">
                  <a16:creationId xmlns:a16="http://schemas.microsoft.com/office/drawing/2014/main" id="{9887B520-8CA5-4418-B1E2-F8918D6D49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4588" y="2212975"/>
              <a:ext cx="122238" cy="120650"/>
            </a:xfrm>
            <a:custGeom>
              <a:avLst/>
              <a:gdLst>
                <a:gd name="T0" fmla="*/ 19 w 32"/>
                <a:gd name="T1" fmla="*/ 0 h 32"/>
                <a:gd name="T2" fmla="*/ 0 w 32"/>
                <a:gd name="T3" fmla="*/ 20 h 32"/>
                <a:gd name="T4" fmla="*/ 4 w 32"/>
                <a:gd name="T5" fmla="*/ 32 h 32"/>
                <a:gd name="T6" fmla="*/ 32 w 32"/>
                <a:gd name="T7" fmla="*/ 5 h 32"/>
                <a:gd name="T8" fmla="*/ 19 w 32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2">
                  <a:moveTo>
                    <a:pt x="19" y="0"/>
                  </a:moveTo>
                  <a:cubicBezTo>
                    <a:pt x="8" y="0"/>
                    <a:pt x="0" y="9"/>
                    <a:pt x="0" y="20"/>
                  </a:cubicBezTo>
                  <a:cubicBezTo>
                    <a:pt x="0" y="24"/>
                    <a:pt x="2" y="29"/>
                    <a:pt x="4" y="32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28" y="2"/>
                    <a:pt x="24" y="0"/>
                    <a:pt x="19" y="0"/>
                  </a:cubicBez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4EDD291A-97C6-4072-9B9B-62AB2B71E4E1}"/>
              </a:ext>
            </a:extLst>
          </p:cNvPr>
          <p:cNvGrpSpPr/>
          <p:nvPr/>
        </p:nvGrpSpPr>
        <p:grpSpPr>
          <a:xfrm>
            <a:off x="4943638" y="1908197"/>
            <a:ext cx="297456" cy="297457"/>
            <a:chOff x="6773863" y="639763"/>
            <a:chExt cx="771525" cy="771526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42" name="Freeform 54">
              <a:extLst>
                <a:ext uri="{FF2B5EF4-FFF2-40B4-BE49-F238E27FC236}">
                  <a16:creationId xmlns:a16="http://schemas.microsoft.com/office/drawing/2014/main" id="{2B6905E7-AEE6-4F85-B987-B73097E2E0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684213"/>
              <a:ext cx="771525" cy="147638"/>
            </a:xfrm>
            <a:custGeom>
              <a:avLst/>
              <a:gdLst>
                <a:gd name="T0" fmla="*/ 204 w 204"/>
                <a:gd name="T1" fmla="*/ 39 h 39"/>
                <a:gd name="T2" fmla="*/ 0 w 204"/>
                <a:gd name="T3" fmla="*/ 39 h 39"/>
                <a:gd name="T4" fmla="*/ 0 w 204"/>
                <a:gd name="T5" fmla="*/ 20 h 39"/>
                <a:gd name="T6" fmla="*/ 19 w 204"/>
                <a:gd name="T7" fmla="*/ 0 h 39"/>
                <a:gd name="T8" fmla="*/ 185 w 204"/>
                <a:gd name="T9" fmla="*/ 0 h 39"/>
                <a:gd name="T10" fmla="*/ 204 w 204"/>
                <a:gd name="T11" fmla="*/ 20 h 39"/>
                <a:gd name="T12" fmla="*/ 204 w 204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39">
                  <a:moveTo>
                    <a:pt x="204" y="39"/>
                  </a:moveTo>
                  <a:cubicBezTo>
                    <a:pt x="0" y="39"/>
                    <a:pt x="0" y="39"/>
                    <a:pt x="0" y="3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8" y="0"/>
                    <a:pt x="19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96" y="0"/>
                    <a:pt x="204" y="9"/>
                    <a:pt x="204" y="20"/>
                  </a:cubicBezTo>
                  <a:lnTo>
                    <a:pt x="204" y="39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3" name="Freeform 55">
              <a:extLst>
                <a:ext uri="{FF2B5EF4-FFF2-40B4-BE49-F238E27FC236}">
                  <a16:creationId xmlns:a16="http://schemas.microsoft.com/office/drawing/2014/main" id="{E90D9BBF-C080-47A0-A4F8-E5A6BF2ADC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684213"/>
              <a:ext cx="355600" cy="147638"/>
            </a:xfrm>
            <a:custGeom>
              <a:avLst/>
              <a:gdLst>
                <a:gd name="T0" fmla="*/ 94 w 94"/>
                <a:gd name="T1" fmla="*/ 0 h 39"/>
                <a:gd name="T2" fmla="*/ 19 w 94"/>
                <a:gd name="T3" fmla="*/ 0 h 39"/>
                <a:gd name="T4" fmla="*/ 0 w 94"/>
                <a:gd name="T5" fmla="*/ 20 h 39"/>
                <a:gd name="T6" fmla="*/ 0 w 94"/>
                <a:gd name="T7" fmla="*/ 39 h 39"/>
                <a:gd name="T8" fmla="*/ 55 w 94"/>
                <a:gd name="T9" fmla="*/ 39 h 39"/>
                <a:gd name="T10" fmla="*/ 94 w 94"/>
                <a:gd name="T1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4" h="39">
                  <a:moveTo>
                    <a:pt x="94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8" y="0"/>
                    <a:pt x="0" y="9"/>
                    <a:pt x="0" y="2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55" y="39"/>
                    <a:pt x="55" y="39"/>
                    <a:pt x="55" y="39"/>
                  </a:cubicBezTo>
                  <a:lnTo>
                    <a:pt x="94" y="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4" name="Freeform 56">
              <a:extLst>
                <a:ext uri="{FF2B5EF4-FFF2-40B4-BE49-F238E27FC236}">
                  <a16:creationId xmlns:a16="http://schemas.microsoft.com/office/drawing/2014/main" id="{B3965068-7E78-44B4-A0DF-5A570EF53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831851"/>
              <a:ext cx="771525" cy="579438"/>
            </a:xfrm>
            <a:custGeom>
              <a:avLst/>
              <a:gdLst>
                <a:gd name="T0" fmla="*/ 204 w 204"/>
                <a:gd name="T1" fmla="*/ 134 h 153"/>
                <a:gd name="T2" fmla="*/ 185 w 204"/>
                <a:gd name="T3" fmla="*/ 153 h 153"/>
                <a:gd name="T4" fmla="*/ 19 w 204"/>
                <a:gd name="T5" fmla="*/ 153 h 153"/>
                <a:gd name="T6" fmla="*/ 0 w 204"/>
                <a:gd name="T7" fmla="*/ 134 h 153"/>
                <a:gd name="T8" fmla="*/ 0 w 204"/>
                <a:gd name="T9" fmla="*/ 0 h 153"/>
                <a:gd name="T10" fmla="*/ 204 w 204"/>
                <a:gd name="T11" fmla="*/ 0 h 153"/>
                <a:gd name="T12" fmla="*/ 204 w 204"/>
                <a:gd name="T13" fmla="*/ 134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153">
                  <a:moveTo>
                    <a:pt x="204" y="134"/>
                  </a:moveTo>
                  <a:cubicBezTo>
                    <a:pt x="204" y="145"/>
                    <a:pt x="196" y="153"/>
                    <a:pt x="185" y="153"/>
                  </a:cubicBezTo>
                  <a:cubicBezTo>
                    <a:pt x="19" y="153"/>
                    <a:pt x="19" y="153"/>
                    <a:pt x="19" y="153"/>
                  </a:cubicBezTo>
                  <a:cubicBezTo>
                    <a:pt x="8" y="153"/>
                    <a:pt x="0" y="145"/>
                    <a:pt x="0" y="13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4" y="0"/>
                    <a:pt x="204" y="0"/>
                    <a:pt x="204" y="0"/>
                  </a:cubicBezTo>
                  <a:lnTo>
                    <a:pt x="204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5" name="Rectangle 57">
              <a:extLst>
                <a:ext uri="{FF2B5EF4-FFF2-40B4-BE49-F238E27FC236}">
                  <a16:creationId xmlns:a16="http://schemas.microsoft.com/office/drawing/2014/main" id="{7D5C7B2C-57A4-4890-B35C-E5029E67A8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8976" y="927101"/>
              <a:ext cx="120650" cy="109538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6" name="Rectangle 58">
              <a:extLst>
                <a:ext uri="{FF2B5EF4-FFF2-40B4-BE49-F238E27FC236}">
                  <a16:creationId xmlns:a16="http://schemas.microsoft.com/office/drawing/2014/main" id="{E7C2DA72-80C6-4D91-8AD8-FB847F294D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7863" y="1063626"/>
              <a:ext cx="120650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7" name="Rectangle 59">
              <a:extLst>
                <a:ext uri="{FF2B5EF4-FFF2-40B4-BE49-F238E27FC236}">
                  <a16:creationId xmlns:a16="http://schemas.microsoft.com/office/drawing/2014/main" id="{D0DF3C8C-23E1-46B0-8275-E219071EFE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1063626"/>
              <a:ext cx="122238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8" name="Rectangle 60">
              <a:extLst>
                <a:ext uri="{FF2B5EF4-FFF2-40B4-BE49-F238E27FC236}">
                  <a16:creationId xmlns:a16="http://schemas.microsoft.com/office/drawing/2014/main" id="{89F4AC21-18F0-4CEF-B33B-A39146D1A9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927101"/>
              <a:ext cx="131763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9" name="Rectangle 61">
              <a:extLst>
                <a:ext uri="{FF2B5EF4-FFF2-40B4-BE49-F238E27FC236}">
                  <a16:creationId xmlns:a16="http://schemas.microsoft.com/office/drawing/2014/main" id="{1CA3C9A2-8169-4B5E-A1A9-FAE7BEA33B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927101"/>
              <a:ext cx="122238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0" name="Rectangle 62">
              <a:extLst>
                <a:ext uri="{FF2B5EF4-FFF2-40B4-BE49-F238E27FC236}">
                  <a16:creationId xmlns:a16="http://schemas.microsoft.com/office/drawing/2014/main" id="{7B59A263-393F-482C-8DBE-5DE8C11E40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1195388"/>
              <a:ext cx="122238" cy="120650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1" name="Rectangle 63">
              <a:extLst>
                <a:ext uri="{FF2B5EF4-FFF2-40B4-BE49-F238E27FC236}">
                  <a16:creationId xmlns:a16="http://schemas.microsoft.com/office/drawing/2014/main" id="{C61CBAC0-16F3-4F1D-9E33-0A6718F442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1063626"/>
              <a:ext cx="120650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2" name="Rectangle 64">
              <a:extLst>
                <a:ext uri="{FF2B5EF4-FFF2-40B4-BE49-F238E27FC236}">
                  <a16:creationId xmlns:a16="http://schemas.microsoft.com/office/drawing/2014/main" id="{ED08D041-F6C0-4B78-8379-903C523C0E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927101"/>
              <a:ext cx="120650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3" name="Rectangle 65">
              <a:extLst>
                <a:ext uri="{FF2B5EF4-FFF2-40B4-BE49-F238E27FC236}">
                  <a16:creationId xmlns:a16="http://schemas.microsoft.com/office/drawing/2014/main" id="{69BF23A6-125A-4788-AAE5-708C6C7B70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1195388"/>
              <a:ext cx="120650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4" name="Rectangle 66">
              <a:extLst>
                <a:ext uri="{FF2B5EF4-FFF2-40B4-BE49-F238E27FC236}">
                  <a16:creationId xmlns:a16="http://schemas.microsoft.com/office/drawing/2014/main" id="{B6E6F684-2513-4D36-AC21-A0F7128317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1063626"/>
              <a:ext cx="131763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5" name="Rectangle 67">
              <a:extLst>
                <a:ext uri="{FF2B5EF4-FFF2-40B4-BE49-F238E27FC236}">
                  <a16:creationId xmlns:a16="http://schemas.microsoft.com/office/drawing/2014/main" id="{B55F9D66-BFDB-4939-A5EF-D8373DC719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1195388"/>
              <a:ext cx="131763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6" name="Rectangle 68">
              <a:extLst>
                <a:ext uri="{FF2B5EF4-FFF2-40B4-BE49-F238E27FC236}">
                  <a16:creationId xmlns:a16="http://schemas.microsoft.com/office/drawing/2014/main" id="{E643468B-0731-4E81-AFFF-C0D07572BD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7863" y="1195388"/>
              <a:ext cx="120650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7" name="Freeform 69">
              <a:extLst>
                <a:ext uri="{FF2B5EF4-FFF2-40B4-BE49-F238E27FC236}">
                  <a16:creationId xmlns:a16="http://schemas.microsoft.com/office/drawing/2014/main" id="{1A66EBE6-109C-4300-A350-5914F15512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9113" y="639763"/>
              <a:ext cx="71438" cy="142875"/>
            </a:xfrm>
            <a:custGeom>
              <a:avLst/>
              <a:gdLst>
                <a:gd name="T0" fmla="*/ 19 w 19"/>
                <a:gd name="T1" fmla="*/ 28 h 38"/>
                <a:gd name="T2" fmla="*/ 10 w 19"/>
                <a:gd name="T3" fmla="*/ 38 h 38"/>
                <a:gd name="T4" fmla="*/ 0 w 19"/>
                <a:gd name="T5" fmla="*/ 28 h 38"/>
                <a:gd name="T6" fmla="*/ 0 w 19"/>
                <a:gd name="T7" fmla="*/ 9 h 38"/>
                <a:gd name="T8" fmla="*/ 10 w 19"/>
                <a:gd name="T9" fmla="*/ 0 h 38"/>
                <a:gd name="T10" fmla="*/ 19 w 19"/>
                <a:gd name="T11" fmla="*/ 9 h 38"/>
                <a:gd name="T12" fmla="*/ 19 w 19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8">
                  <a:moveTo>
                    <a:pt x="19" y="28"/>
                  </a:moveTo>
                  <a:cubicBezTo>
                    <a:pt x="19" y="34"/>
                    <a:pt x="15" y="38"/>
                    <a:pt x="10" y="38"/>
                  </a:cubicBezTo>
                  <a:cubicBezTo>
                    <a:pt x="5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5" y="0"/>
                    <a:pt x="19" y="4"/>
                    <a:pt x="19" y="9"/>
                  </a:cubicBezTo>
                  <a:lnTo>
                    <a:pt x="19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8" name="Freeform 70">
              <a:extLst>
                <a:ext uri="{FF2B5EF4-FFF2-40B4-BE49-F238E27FC236}">
                  <a16:creationId xmlns:a16="http://schemas.microsoft.com/office/drawing/2014/main" id="{3E27F4D3-31DA-420C-A1F8-B26E1C6579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8701" y="639763"/>
              <a:ext cx="73025" cy="142875"/>
            </a:xfrm>
            <a:custGeom>
              <a:avLst/>
              <a:gdLst>
                <a:gd name="T0" fmla="*/ 19 w 19"/>
                <a:gd name="T1" fmla="*/ 28 h 38"/>
                <a:gd name="T2" fmla="*/ 9 w 19"/>
                <a:gd name="T3" fmla="*/ 38 h 38"/>
                <a:gd name="T4" fmla="*/ 0 w 19"/>
                <a:gd name="T5" fmla="*/ 28 h 38"/>
                <a:gd name="T6" fmla="*/ 0 w 19"/>
                <a:gd name="T7" fmla="*/ 9 h 38"/>
                <a:gd name="T8" fmla="*/ 9 w 19"/>
                <a:gd name="T9" fmla="*/ 0 h 38"/>
                <a:gd name="T10" fmla="*/ 19 w 19"/>
                <a:gd name="T11" fmla="*/ 9 h 38"/>
                <a:gd name="T12" fmla="*/ 19 w 19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8">
                  <a:moveTo>
                    <a:pt x="19" y="28"/>
                  </a:moveTo>
                  <a:cubicBezTo>
                    <a:pt x="19" y="34"/>
                    <a:pt x="14" y="38"/>
                    <a:pt x="9" y="38"/>
                  </a:cubicBezTo>
                  <a:cubicBezTo>
                    <a:pt x="4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9" y="4"/>
                    <a:pt x="19" y="9"/>
                  </a:cubicBezTo>
                  <a:lnTo>
                    <a:pt x="19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9" name="Freeform 71">
              <a:extLst>
                <a:ext uri="{FF2B5EF4-FFF2-40B4-BE49-F238E27FC236}">
                  <a16:creationId xmlns:a16="http://schemas.microsoft.com/office/drawing/2014/main" id="{A87C7B80-9060-44B6-989F-BDB4B6E0A26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1526" y="639763"/>
              <a:ext cx="76200" cy="142875"/>
            </a:xfrm>
            <a:custGeom>
              <a:avLst/>
              <a:gdLst>
                <a:gd name="T0" fmla="*/ 20 w 20"/>
                <a:gd name="T1" fmla="*/ 28 h 38"/>
                <a:gd name="T2" fmla="*/ 10 w 20"/>
                <a:gd name="T3" fmla="*/ 38 h 38"/>
                <a:gd name="T4" fmla="*/ 0 w 20"/>
                <a:gd name="T5" fmla="*/ 28 h 38"/>
                <a:gd name="T6" fmla="*/ 0 w 20"/>
                <a:gd name="T7" fmla="*/ 9 h 38"/>
                <a:gd name="T8" fmla="*/ 10 w 20"/>
                <a:gd name="T9" fmla="*/ 0 h 38"/>
                <a:gd name="T10" fmla="*/ 20 w 20"/>
                <a:gd name="T11" fmla="*/ 9 h 38"/>
                <a:gd name="T12" fmla="*/ 20 w 20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38">
                  <a:moveTo>
                    <a:pt x="20" y="28"/>
                  </a:moveTo>
                  <a:cubicBezTo>
                    <a:pt x="20" y="34"/>
                    <a:pt x="15" y="38"/>
                    <a:pt x="10" y="38"/>
                  </a:cubicBezTo>
                  <a:cubicBezTo>
                    <a:pt x="5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5" y="0"/>
                    <a:pt x="20" y="4"/>
                    <a:pt x="20" y="9"/>
                  </a:cubicBezTo>
                  <a:lnTo>
                    <a:pt x="20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3" name="Picture 2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5624CF4E-1479-88EB-ABC1-63CFE281A7F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5979" y="-499613"/>
            <a:ext cx="1808680" cy="180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2258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0778EFC-CC57-4EF6-89FF-014E742142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0778EFC-CC57-4EF6-89FF-014E742142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ángulo 6175">
            <a:extLst>
              <a:ext uri="{FF2B5EF4-FFF2-40B4-BE49-F238E27FC236}">
                <a16:creationId xmlns:a16="http://schemas.microsoft.com/office/drawing/2014/main" id="{86A51F14-CEC0-4873-B851-90AD5CCD0617}"/>
              </a:ext>
            </a:extLst>
          </p:cNvPr>
          <p:cNvSpPr/>
          <p:nvPr/>
        </p:nvSpPr>
        <p:spPr>
          <a:xfrm>
            <a:off x="7913" y="4500462"/>
            <a:ext cx="12214702" cy="2387600"/>
          </a:xfrm>
          <a:prstGeom prst="rect">
            <a:avLst/>
          </a:pr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049CEE6A-F0A8-4DFA-9341-6025BABA637D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6FF0B403-FADC-424A-A227-59D6B88F2456}"/>
              </a:ext>
            </a:extLst>
          </p:cNvPr>
          <p:cNvSpPr/>
          <p:nvPr/>
        </p:nvSpPr>
        <p:spPr>
          <a:xfrm>
            <a:off x="669963" y="1204256"/>
            <a:ext cx="6833921" cy="4449489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B2A14CA-B27E-4A65-85F3-621B5BA14675}"/>
              </a:ext>
            </a:extLst>
          </p:cNvPr>
          <p:cNvSpPr/>
          <p:nvPr/>
        </p:nvSpPr>
        <p:spPr>
          <a:xfrm>
            <a:off x="1104477" y="0"/>
            <a:ext cx="1175537" cy="1385657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F1280CC-AF01-4FA6-9B49-8F44EB574ACE}"/>
              </a:ext>
            </a:extLst>
          </p:cNvPr>
          <p:cNvSpPr/>
          <p:nvPr/>
        </p:nvSpPr>
        <p:spPr>
          <a:xfrm>
            <a:off x="1104477" y="769023"/>
            <a:ext cx="1175537" cy="1175537"/>
          </a:xfrm>
          <a:prstGeom prst="ellipse">
            <a:avLst/>
          </a:prstGeom>
          <a:solidFill>
            <a:srgbClr val="D0101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EF99D574-3FCD-4173-937D-0FA446AEB9D2}"/>
              </a:ext>
            </a:extLst>
          </p:cNvPr>
          <p:cNvSpPr/>
          <p:nvPr/>
        </p:nvSpPr>
        <p:spPr>
          <a:xfrm>
            <a:off x="1324575" y="991834"/>
            <a:ext cx="729915" cy="7299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任意多边形: 形状 16">
            <a:extLst>
              <a:ext uri="{FF2B5EF4-FFF2-40B4-BE49-F238E27FC236}">
                <a16:creationId xmlns:a16="http://schemas.microsoft.com/office/drawing/2014/main" id="{CD17D5EF-C3CA-430D-8D78-9B7A4A92E88A}"/>
              </a:ext>
            </a:extLst>
          </p:cNvPr>
          <p:cNvSpPr/>
          <p:nvPr/>
        </p:nvSpPr>
        <p:spPr>
          <a:xfrm rot="16200000">
            <a:off x="807732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任意多边形: 形状 16">
            <a:extLst>
              <a:ext uri="{FF2B5EF4-FFF2-40B4-BE49-F238E27FC236}">
                <a16:creationId xmlns:a16="http://schemas.microsoft.com/office/drawing/2014/main" id="{CC5943E8-7862-4DAC-87C4-7F35D6FBC9CD}"/>
              </a:ext>
            </a:extLst>
          </p:cNvPr>
          <p:cNvSpPr/>
          <p:nvPr/>
        </p:nvSpPr>
        <p:spPr>
          <a:xfrm rot="16200000">
            <a:off x="807732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Rectángulo 6175">
            <a:extLst>
              <a:ext uri="{FF2B5EF4-FFF2-40B4-BE49-F238E27FC236}">
                <a16:creationId xmlns:a16="http://schemas.microsoft.com/office/drawing/2014/main" id="{8B9CA6E7-7271-4C1A-9106-2069F65592DD}"/>
              </a:ext>
            </a:extLst>
          </p:cNvPr>
          <p:cNvSpPr/>
          <p:nvPr/>
        </p:nvSpPr>
        <p:spPr>
          <a:xfrm>
            <a:off x="9681028" y="0"/>
            <a:ext cx="2533673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ángulo 6175">
            <a:extLst>
              <a:ext uri="{FF2B5EF4-FFF2-40B4-BE49-F238E27FC236}">
                <a16:creationId xmlns:a16="http://schemas.microsoft.com/office/drawing/2014/main" id="{63057CCC-8D68-4B3B-A6A3-B3A9F797FE6D}"/>
              </a:ext>
            </a:extLst>
          </p:cNvPr>
          <p:cNvSpPr/>
          <p:nvPr/>
        </p:nvSpPr>
        <p:spPr>
          <a:xfrm>
            <a:off x="11829143" y="0"/>
            <a:ext cx="385557" cy="6858000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BFC38C69-061C-4D96-8765-E5AE867E3A82}"/>
              </a:ext>
            </a:extLst>
          </p:cNvPr>
          <p:cNvSpPr/>
          <p:nvPr/>
        </p:nvSpPr>
        <p:spPr>
          <a:xfrm rot="16200000">
            <a:off x="10254466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16">
            <a:extLst>
              <a:ext uri="{FF2B5EF4-FFF2-40B4-BE49-F238E27FC236}">
                <a16:creationId xmlns:a16="http://schemas.microsoft.com/office/drawing/2014/main" id="{1FE673F1-E8EA-4A14-BD79-3511A9C956BC}"/>
              </a:ext>
            </a:extLst>
          </p:cNvPr>
          <p:cNvSpPr/>
          <p:nvPr/>
        </p:nvSpPr>
        <p:spPr>
          <a:xfrm rot="16200000">
            <a:off x="10254466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69D15F79-29F9-45CC-9D3C-E64A8C4AE0FA}"/>
              </a:ext>
            </a:extLst>
          </p:cNvPr>
          <p:cNvSpPr/>
          <p:nvPr/>
        </p:nvSpPr>
        <p:spPr>
          <a:xfrm>
            <a:off x="6666889" y="1204256"/>
            <a:ext cx="5547811" cy="4449489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A1F34D-EB98-4CAD-A1DE-7AC573B10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613" y="2184696"/>
            <a:ext cx="4303725" cy="741568"/>
          </a:xfrm>
        </p:spPr>
        <p:txBody>
          <a:bodyPr lIns="0" rIns="0">
            <a:normAutofit fontScale="90000"/>
          </a:bodyPr>
          <a:lstStyle/>
          <a:p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frastructure Managemen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0C835E6-5275-478D-B06E-63B529F28218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8EDDE3A-9B37-43A6-8AC5-022DDD0AA58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0B669C6-75C7-488F-90E7-B0037991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53" name="Picture 52" descr="Background pattern&#10;&#10;Description automatically generated">
            <a:extLst>
              <a:ext uri="{FF2B5EF4-FFF2-40B4-BE49-F238E27FC236}">
                <a16:creationId xmlns:a16="http://schemas.microsoft.com/office/drawing/2014/main" id="{E1377084-21E0-42A7-B144-A69CF5A6D83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92413" y="1385657"/>
            <a:ext cx="5322288" cy="4021639"/>
          </a:xfrm>
          <a:custGeom>
            <a:avLst/>
            <a:gdLst>
              <a:gd name="connsiteX0" fmla="*/ 655598 w 5978515"/>
              <a:gd name="connsiteY0" fmla="*/ 0 h 4021639"/>
              <a:gd name="connsiteX1" fmla="*/ 5978515 w 5978515"/>
              <a:gd name="connsiteY1" fmla="*/ 0 h 4021639"/>
              <a:gd name="connsiteX2" fmla="*/ 5978515 w 5978515"/>
              <a:gd name="connsiteY2" fmla="*/ 4021639 h 4021639"/>
              <a:gd name="connsiteX3" fmla="*/ 655598 w 5978515"/>
              <a:gd name="connsiteY3" fmla="*/ 4021639 h 4021639"/>
              <a:gd name="connsiteX4" fmla="*/ 0 w 5978515"/>
              <a:gd name="connsiteY4" fmla="*/ 3351353 h 4021639"/>
              <a:gd name="connsiteX5" fmla="*/ 0 w 5978515"/>
              <a:gd name="connsiteY5" fmla="*/ 670286 h 4021639"/>
              <a:gd name="connsiteX6" fmla="*/ 655598 w 5978515"/>
              <a:gd name="connsiteY6" fmla="*/ 0 h 4021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78515" h="4021639">
                <a:moveTo>
                  <a:pt x="655598" y="0"/>
                </a:moveTo>
                <a:lnTo>
                  <a:pt x="5978515" y="0"/>
                </a:lnTo>
                <a:lnTo>
                  <a:pt x="5978515" y="4021639"/>
                </a:lnTo>
                <a:lnTo>
                  <a:pt x="655598" y="4021639"/>
                </a:lnTo>
                <a:cubicBezTo>
                  <a:pt x="293521" y="4021639"/>
                  <a:pt x="0" y="3721542"/>
                  <a:pt x="0" y="3351353"/>
                </a:cubicBezTo>
                <a:lnTo>
                  <a:pt x="0" y="670286"/>
                </a:lnTo>
                <a:cubicBezTo>
                  <a:pt x="0" y="300098"/>
                  <a:pt x="293521" y="0"/>
                  <a:pt x="655598" y="0"/>
                </a:cubicBezTo>
                <a:close/>
              </a:path>
            </a:pathLst>
          </a:cu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09971475-858B-487D-8875-A846C5AC2D16}"/>
              </a:ext>
            </a:extLst>
          </p:cNvPr>
          <p:cNvGrpSpPr/>
          <p:nvPr/>
        </p:nvGrpSpPr>
        <p:grpSpPr>
          <a:xfrm>
            <a:off x="1495252" y="1172799"/>
            <a:ext cx="388560" cy="367985"/>
            <a:chOff x="2805113" y="2247901"/>
            <a:chExt cx="779462" cy="738188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8" name="Freeform 78">
              <a:extLst>
                <a:ext uri="{FF2B5EF4-FFF2-40B4-BE49-F238E27FC236}">
                  <a16:creationId xmlns:a16="http://schemas.microsoft.com/office/drawing/2014/main" id="{B7664ACB-8C2A-436E-89EA-05BADF299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79">
              <a:extLst>
                <a:ext uri="{FF2B5EF4-FFF2-40B4-BE49-F238E27FC236}">
                  <a16:creationId xmlns:a16="http://schemas.microsoft.com/office/drawing/2014/main" id="{D93500A6-717D-481E-8FE5-C94376441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80">
              <a:extLst>
                <a:ext uri="{FF2B5EF4-FFF2-40B4-BE49-F238E27FC236}">
                  <a16:creationId xmlns:a16="http://schemas.microsoft.com/office/drawing/2014/main" id="{F83B5C6C-2A4B-4C64-BA1F-7B4883CC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81">
              <a:extLst>
                <a:ext uri="{FF2B5EF4-FFF2-40B4-BE49-F238E27FC236}">
                  <a16:creationId xmlns:a16="http://schemas.microsoft.com/office/drawing/2014/main" id="{05AD84B9-7AA3-44B9-B394-B0D64F448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82">
              <a:extLst>
                <a:ext uri="{FF2B5EF4-FFF2-40B4-BE49-F238E27FC236}">
                  <a16:creationId xmlns:a16="http://schemas.microsoft.com/office/drawing/2014/main" id="{8CDBE542-6281-41A8-9DEB-B4824C2CC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83">
              <a:extLst>
                <a:ext uri="{FF2B5EF4-FFF2-40B4-BE49-F238E27FC236}">
                  <a16:creationId xmlns:a16="http://schemas.microsoft.com/office/drawing/2014/main" id="{00B99341-F351-46D3-984D-438D2C390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84">
              <a:extLst>
                <a:ext uri="{FF2B5EF4-FFF2-40B4-BE49-F238E27FC236}">
                  <a16:creationId xmlns:a16="http://schemas.microsoft.com/office/drawing/2014/main" id="{355432A7-AEFA-47F1-B0A0-1345637B0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85">
              <a:extLst>
                <a:ext uri="{FF2B5EF4-FFF2-40B4-BE49-F238E27FC236}">
                  <a16:creationId xmlns:a16="http://schemas.microsoft.com/office/drawing/2014/main" id="{54DA4313-77E3-457F-8833-0662FC75B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86">
              <a:extLst>
                <a:ext uri="{FF2B5EF4-FFF2-40B4-BE49-F238E27FC236}">
                  <a16:creationId xmlns:a16="http://schemas.microsoft.com/office/drawing/2014/main" id="{614328DC-CA57-42F5-BE0C-7B5D3BB29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6EC70ED2-58A2-4F0D-AB74-2621F9D02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A6DF8AC2-542F-4D2D-8215-43A775290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89">
              <a:extLst>
                <a:ext uri="{FF2B5EF4-FFF2-40B4-BE49-F238E27FC236}">
                  <a16:creationId xmlns:a16="http://schemas.microsoft.com/office/drawing/2014/main" id="{CC3503D2-7FCA-415E-8388-238A74A3A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01381D6B-0A38-4E06-8506-A342F6A017DB}"/>
              </a:ext>
            </a:extLst>
          </p:cNvPr>
          <p:cNvSpPr txBox="1">
            <a:spLocks/>
          </p:cNvSpPr>
          <p:nvPr/>
        </p:nvSpPr>
        <p:spPr>
          <a:xfrm>
            <a:off x="1104477" y="3400111"/>
            <a:ext cx="4303725" cy="10055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latin typeface="Segoe UI" panose="020B0502040204020203" pitchFamily="34" charset="0"/>
                <a:cs typeface="Segoe UI" panose="020B0502040204020203" pitchFamily="34" charset="0"/>
              </a:rPr>
              <a:t>IaC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latin typeface="Segoe UI" panose="020B0502040204020203" pitchFamily="34" charset="0"/>
                <a:cs typeface="Segoe UI" panose="020B0502040204020203" pitchFamily="34" charset="0"/>
              </a:rPr>
              <a:t>GitOps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Catalog</a:t>
            </a:r>
            <a:endParaRPr lang="en-US" sz="1050" dirty="0"/>
          </a:p>
        </p:txBody>
      </p:sp>
      <p:pic>
        <p:nvPicPr>
          <p:cNvPr id="6" name="Picture 5" descr="A logo with a rocket in the middle&#10;&#10;Description automatically generated">
            <a:extLst>
              <a:ext uri="{FF2B5EF4-FFF2-40B4-BE49-F238E27FC236}">
                <a16:creationId xmlns:a16="http://schemas.microsoft.com/office/drawing/2014/main" id="{9369FFAB-2683-35E8-61F5-DA2E3FC9CF1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8754" y="5712409"/>
            <a:ext cx="2037046" cy="916017"/>
          </a:xfrm>
          <a:prstGeom prst="rect">
            <a:avLst/>
          </a:prstGeom>
        </p:spPr>
      </p:pic>
      <p:pic>
        <p:nvPicPr>
          <p:cNvPr id="4" name="Picture 3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A482FC57-17D3-3A23-46A2-1257FC345C5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1294" y="818117"/>
            <a:ext cx="5221765" cy="522176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203753DF-B9CD-6766-A941-CC078E8576E8}"/>
              </a:ext>
            </a:extLst>
          </p:cNvPr>
          <p:cNvSpPr txBox="1">
            <a:spLocks/>
          </p:cNvSpPr>
          <p:nvPr/>
        </p:nvSpPr>
        <p:spPr>
          <a:xfrm>
            <a:off x="1104477" y="5151913"/>
            <a:ext cx="4303725" cy="4120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Let’s look at the options…</a:t>
            </a:r>
          </a:p>
        </p:txBody>
      </p:sp>
    </p:spTree>
    <p:extLst>
      <p:ext uri="{BB962C8B-B14F-4D97-AF65-F5344CB8AC3E}">
        <p14:creationId xmlns:p14="http://schemas.microsoft.com/office/powerpoint/2010/main" val="19723834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rastructure As Code (</a:t>
            </a:r>
            <a:r>
              <a:rPr lang="en-US" dirty="0" err="1"/>
              <a:t>IaC</a:t>
            </a:r>
            <a:r>
              <a:rPr lang="en-US" dirty="0"/>
              <a:t>) in practi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Takes proven coding practices to continuously deliver infrastructure, and software running on it rapidly and at scale. </a:t>
            </a:r>
            <a:r>
              <a:rPr lang="en-US" sz="2000" b="1" dirty="0"/>
              <a:t>To Whom?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6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14384" y="2841878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7925" y="2526460"/>
            <a:ext cx="1963754" cy="196375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9C09223-D36A-E074-1AA6-0CB54D96C302}"/>
              </a:ext>
            </a:extLst>
          </p:cNvPr>
          <p:cNvSpPr txBox="1"/>
          <p:nvPr/>
        </p:nvSpPr>
        <p:spPr>
          <a:xfrm>
            <a:off x="861162" y="4896951"/>
            <a:ext cx="1236877" cy="369332"/>
          </a:xfrm>
          <a:custGeom>
            <a:avLst/>
            <a:gdLst>
              <a:gd name="connsiteX0" fmla="*/ 0 w 1236877"/>
              <a:gd name="connsiteY0" fmla="*/ 0 h 369332"/>
              <a:gd name="connsiteX1" fmla="*/ 399924 w 1236877"/>
              <a:gd name="connsiteY1" fmla="*/ 0 h 369332"/>
              <a:gd name="connsiteX2" fmla="*/ 775110 w 1236877"/>
              <a:gd name="connsiteY2" fmla="*/ 0 h 369332"/>
              <a:gd name="connsiteX3" fmla="*/ 1236877 w 1236877"/>
              <a:gd name="connsiteY3" fmla="*/ 0 h 369332"/>
              <a:gd name="connsiteX4" fmla="*/ 1236877 w 1236877"/>
              <a:gd name="connsiteY4" fmla="*/ 369332 h 369332"/>
              <a:gd name="connsiteX5" fmla="*/ 849322 w 1236877"/>
              <a:gd name="connsiteY5" fmla="*/ 369332 h 369332"/>
              <a:gd name="connsiteX6" fmla="*/ 412292 w 1236877"/>
              <a:gd name="connsiteY6" fmla="*/ 369332 h 369332"/>
              <a:gd name="connsiteX7" fmla="*/ 0 w 1236877"/>
              <a:gd name="connsiteY7" fmla="*/ 369332 h 369332"/>
              <a:gd name="connsiteX8" fmla="*/ 0 w 1236877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6877" h="369332" extrusionOk="0">
                <a:moveTo>
                  <a:pt x="0" y="0"/>
                </a:moveTo>
                <a:cubicBezTo>
                  <a:pt x="175328" y="-17771"/>
                  <a:pt x="280012" y="20305"/>
                  <a:pt x="399924" y="0"/>
                </a:cubicBezTo>
                <a:cubicBezTo>
                  <a:pt x="519836" y="-20305"/>
                  <a:pt x="673338" y="9360"/>
                  <a:pt x="775110" y="0"/>
                </a:cubicBezTo>
                <a:cubicBezTo>
                  <a:pt x="876882" y="-9360"/>
                  <a:pt x="1091270" y="30966"/>
                  <a:pt x="1236877" y="0"/>
                </a:cubicBezTo>
                <a:cubicBezTo>
                  <a:pt x="1272465" y="113493"/>
                  <a:pt x="1210070" y="197069"/>
                  <a:pt x="1236877" y="369332"/>
                </a:cubicBezTo>
                <a:cubicBezTo>
                  <a:pt x="1057692" y="380605"/>
                  <a:pt x="987291" y="349777"/>
                  <a:pt x="849322" y="369332"/>
                </a:cubicBezTo>
                <a:cubicBezTo>
                  <a:pt x="711353" y="388887"/>
                  <a:pt x="537900" y="327536"/>
                  <a:pt x="412292" y="369332"/>
                </a:cubicBezTo>
                <a:cubicBezTo>
                  <a:pt x="286684" y="411128"/>
                  <a:pt x="158184" y="356080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Develop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CEC175-E2F9-A40F-65CB-92B68AEF21E7}"/>
              </a:ext>
            </a:extLst>
          </p:cNvPr>
          <p:cNvSpPr txBox="1"/>
          <p:nvPr/>
        </p:nvSpPr>
        <p:spPr>
          <a:xfrm>
            <a:off x="1508830" y="5420858"/>
            <a:ext cx="1548565" cy="369332"/>
          </a:xfrm>
          <a:custGeom>
            <a:avLst/>
            <a:gdLst>
              <a:gd name="connsiteX0" fmla="*/ 0 w 1548565"/>
              <a:gd name="connsiteY0" fmla="*/ 0 h 369332"/>
              <a:gd name="connsiteX1" fmla="*/ 500703 w 1548565"/>
              <a:gd name="connsiteY1" fmla="*/ 0 h 369332"/>
              <a:gd name="connsiteX2" fmla="*/ 970434 w 1548565"/>
              <a:gd name="connsiteY2" fmla="*/ 0 h 369332"/>
              <a:gd name="connsiteX3" fmla="*/ 1548565 w 1548565"/>
              <a:gd name="connsiteY3" fmla="*/ 0 h 369332"/>
              <a:gd name="connsiteX4" fmla="*/ 1548565 w 1548565"/>
              <a:gd name="connsiteY4" fmla="*/ 369332 h 369332"/>
              <a:gd name="connsiteX5" fmla="*/ 1063348 w 1548565"/>
              <a:gd name="connsiteY5" fmla="*/ 369332 h 369332"/>
              <a:gd name="connsiteX6" fmla="*/ 516188 w 1548565"/>
              <a:gd name="connsiteY6" fmla="*/ 369332 h 369332"/>
              <a:gd name="connsiteX7" fmla="*/ 0 w 1548565"/>
              <a:gd name="connsiteY7" fmla="*/ 369332 h 369332"/>
              <a:gd name="connsiteX8" fmla="*/ 0 w 1548565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8565" h="369332" extrusionOk="0">
                <a:moveTo>
                  <a:pt x="0" y="0"/>
                </a:moveTo>
                <a:cubicBezTo>
                  <a:pt x="188744" y="-47250"/>
                  <a:pt x="363565" y="29188"/>
                  <a:pt x="500703" y="0"/>
                </a:cubicBezTo>
                <a:cubicBezTo>
                  <a:pt x="637841" y="-29188"/>
                  <a:pt x="876338" y="27244"/>
                  <a:pt x="970434" y="0"/>
                </a:cubicBezTo>
                <a:cubicBezTo>
                  <a:pt x="1064530" y="-27244"/>
                  <a:pt x="1364252" y="59563"/>
                  <a:pt x="1548565" y="0"/>
                </a:cubicBezTo>
                <a:cubicBezTo>
                  <a:pt x="1584153" y="113493"/>
                  <a:pt x="1521758" y="197069"/>
                  <a:pt x="1548565" y="369332"/>
                </a:cubicBezTo>
                <a:cubicBezTo>
                  <a:pt x="1380486" y="378330"/>
                  <a:pt x="1230603" y="356389"/>
                  <a:pt x="1063348" y="369332"/>
                </a:cubicBezTo>
                <a:cubicBezTo>
                  <a:pt x="896093" y="382275"/>
                  <a:pt x="690595" y="357083"/>
                  <a:pt x="516188" y="369332"/>
                </a:cubicBezTo>
                <a:cubicBezTo>
                  <a:pt x="341781" y="381581"/>
                  <a:pt x="145639" y="3359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Platform Tea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635322" y="4373044"/>
            <a:ext cx="2422073" cy="369332"/>
          </a:xfrm>
          <a:custGeom>
            <a:avLst/>
            <a:gdLst>
              <a:gd name="connsiteX0" fmla="*/ 0 w 2422073"/>
              <a:gd name="connsiteY0" fmla="*/ 0 h 369332"/>
              <a:gd name="connsiteX1" fmla="*/ 460194 w 2422073"/>
              <a:gd name="connsiteY1" fmla="*/ 0 h 369332"/>
              <a:gd name="connsiteX2" fmla="*/ 871946 w 2422073"/>
              <a:gd name="connsiteY2" fmla="*/ 0 h 369332"/>
              <a:gd name="connsiteX3" fmla="*/ 1404802 w 2422073"/>
              <a:gd name="connsiteY3" fmla="*/ 0 h 369332"/>
              <a:gd name="connsiteX4" fmla="*/ 1864996 w 2422073"/>
              <a:gd name="connsiteY4" fmla="*/ 0 h 369332"/>
              <a:gd name="connsiteX5" fmla="*/ 2422073 w 2422073"/>
              <a:gd name="connsiteY5" fmla="*/ 0 h 369332"/>
              <a:gd name="connsiteX6" fmla="*/ 2422073 w 2422073"/>
              <a:gd name="connsiteY6" fmla="*/ 369332 h 369332"/>
              <a:gd name="connsiteX7" fmla="*/ 1937658 w 2422073"/>
              <a:gd name="connsiteY7" fmla="*/ 369332 h 369332"/>
              <a:gd name="connsiteX8" fmla="*/ 1404802 w 2422073"/>
              <a:gd name="connsiteY8" fmla="*/ 369332 h 369332"/>
              <a:gd name="connsiteX9" fmla="*/ 993050 w 2422073"/>
              <a:gd name="connsiteY9" fmla="*/ 369332 h 369332"/>
              <a:gd name="connsiteX10" fmla="*/ 508635 w 2422073"/>
              <a:gd name="connsiteY10" fmla="*/ 369332 h 369332"/>
              <a:gd name="connsiteX11" fmla="*/ 0 w 2422073"/>
              <a:gd name="connsiteY11" fmla="*/ 369332 h 369332"/>
              <a:gd name="connsiteX12" fmla="*/ 0 w 2422073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22073" h="369332" extrusionOk="0">
                <a:moveTo>
                  <a:pt x="0" y="0"/>
                </a:moveTo>
                <a:cubicBezTo>
                  <a:pt x="199693" y="-10251"/>
                  <a:pt x="246167" y="30869"/>
                  <a:pt x="460194" y="0"/>
                </a:cubicBezTo>
                <a:cubicBezTo>
                  <a:pt x="674221" y="-30869"/>
                  <a:pt x="708354" y="1783"/>
                  <a:pt x="871946" y="0"/>
                </a:cubicBezTo>
                <a:cubicBezTo>
                  <a:pt x="1035538" y="-1783"/>
                  <a:pt x="1215339" y="49588"/>
                  <a:pt x="1404802" y="0"/>
                </a:cubicBezTo>
                <a:cubicBezTo>
                  <a:pt x="1594265" y="-49588"/>
                  <a:pt x="1640279" y="31720"/>
                  <a:pt x="1864996" y="0"/>
                </a:cubicBezTo>
                <a:cubicBezTo>
                  <a:pt x="2089713" y="-31720"/>
                  <a:pt x="2225679" y="45722"/>
                  <a:pt x="2422073" y="0"/>
                </a:cubicBezTo>
                <a:cubicBezTo>
                  <a:pt x="2458233" y="81226"/>
                  <a:pt x="2400535" y="278722"/>
                  <a:pt x="2422073" y="369332"/>
                </a:cubicBezTo>
                <a:cubicBezTo>
                  <a:pt x="2243299" y="402811"/>
                  <a:pt x="2104963" y="338227"/>
                  <a:pt x="1937658" y="369332"/>
                </a:cubicBezTo>
                <a:cubicBezTo>
                  <a:pt x="1770354" y="400437"/>
                  <a:pt x="1620687" y="307360"/>
                  <a:pt x="1404802" y="369332"/>
                </a:cubicBezTo>
                <a:cubicBezTo>
                  <a:pt x="1188917" y="431304"/>
                  <a:pt x="1131819" y="335684"/>
                  <a:pt x="993050" y="369332"/>
                </a:cubicBezTo>
                <a:cubicBezTo>
                  <a:pt x="854281" y="402980"/>
                  <a:pt x="704761" y="348963"/>
                  <a:pt x="508635" y="369332"/>
                </a:cubicBezTo>
                <a:cubicBezTo>
                  <a:pt x="312510" y="389701"/>
                  <a:pt x="246365" y="328998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Operations/Onboarding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29254" y="4337825"/>
            <a:ext cx="1270677" cy="386034"/>
          </a:xfrm>
          <a:custGeom>
            <a:avLst/>
            <a:gdLst>
              <a:gd name="connsiteX0" fmla="*/ 0 w 1270677"/>
              <a:gd name="connsiteY0" fmla="*/ 64340 h 386034"/>
              <a:gd name="connsiteX1" fmla="*/ 64340 w 1270677"/>
              <a:gd name="connsiteY1" fmla="*/ 0 h 386034"/>
              <a:gd name="connsiteX2" fmla="*/ 658178 w 1270677"/>
              <a:gd name="connsiteY2" fmla="*/ 0 h 386034"/>
              <a:gd name="connsiteX3" fmla="*/ 1206337 w 1270677"/>
              <a:gd name="connsiteY3" fmla="*/ 0 h 386034"/>
              <a:gd name="connsiteX4" fmla="*/ 1270677 w 1270677"/>
              <a:gd name="connsiteY4" fmla="*/ 64340 h 386034"/>
              <a:gd name="connsiteX5" fmla="*/ 1270677 w 1270677"/>
              <a:gd name="connsiteY5" fmla="*/ 321694 h 386034"/>
              <a:gd name="connsiteX6" fmla="*/ 1206337 w 1270677"/>
              <a:gd name="connsiteY6" fmla="*/ 386034 h 386034"/>
              <a:gd name="connsiteX7" fmla="*/ 635339 w 1270677"/>
              <a:gd name="connsiteY7" fmla="*/ 386034 h 386034"/>
              <a:gd name="connsiteX8" fmla="*/ 64340 w 1270677"/>
              <a:gd name="connsiteY8" fmla="*/ 386034 h 386034"/>
              <a:gd name="connsiteX9" fmla="*/ 0 w 1270677"/>
              <a:gd name="connsiteY9" fmla="*/ 321694 h 386034"/>
              <a:gd name="connsiteX10" fmla="*/ 0 w 1270677"/>
              <a:gd name="connsiteY10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0677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305104" y="-12353"/>
                  <a:pt x="404359" y="-13726"/>
                  <a:pt x="658178" y="0"/>
                </a:cubicBezTo>
                <a:cubicBezTo>
                  <a:pt x="911997" y="13726"/>
                  <a:pt x="1013716" y="-11684"/>
                  <a:pt x="1206337" y="0"/>
                </a:cubicBezTo>
                <a:cubicBezTo>
                  <a:pt x="1234352" y="-4114"/>
                  <a:pt x="1274606" y="30683"/>
                  <a:pt x="1270677" y="64340"/>
                </a:cubicBezTo>
                <a:cubicBezTo>
                  <a:pt x="1276931" y="162416"/>
                  <a:pt x="1279897" y="205598"/>
                  <a:pt x="1270677" y="321694"/>
                </a:cubicBezTo>
                <a:cubicBezTo>
                  <a:pt x="1272476" y="354301"/>
                  <a:pt x="1236545" y="390714"/>
                  <a:pt x="1206337" y="386034"/>
                </a:cubicBezTo>
                <a:cubicBezTo>
                  <a:pt x="1018204" y="391331"/>
                  <a:pt x="872347" y="408582"/>
                  <a:pt x="635339" y="386034"/>
                </a:cubicBezTo>
                <a:cubicBezTo>
                  <a:pt x="398331" y="363486"/>
                  <a:pt x="230275" y="367458"/>
                  <a:pt x="64340" y="386034"/>
                </a:cubicBezTo>
                <a:cubicBezTo>
                  <a:pt x="21150" y="385596"/>
                  <a:pt x="2276" y="350987"/>
                  <a:pt x="0" y="321694"/>
                </a:cubicBezTo>
                <a:cubicBezTo>
                  <a:pt x="3363" y="261429"/>
                  <a:pt x="10077" y="168251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8098358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2FC9430-89FA-B6F5-FF73-09BF4CD95552}"/>
              </a:ext>
            </a:extLst>
          </p:cNvPr>
          <p:cNvSpPr txBox="1">
            <a:spLocks/>
          </p:cNvSpPr>
          <p:nvPr/>
        </p:nvSpPr>
        <p:spPr>
          <a:xfrm>
            <a:off x="4398363" y="4349404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Key Principles</a:t>
            </a:r>
          </a:p>
          <a:p>
            <a:pPr>
              <a:buFontTx/>
              <a:buChar char="-"/>
            </a:pPr>
            <a:r>
              <a:rPr lang="en-US" sz="1600" dirty="0"/>
              <a:t>Source Control</a:t>
            </a:r>
          </a:p>
          <a:p>
            <a:pPr>
              <a:buFontTx/>
              <a:buChar char="-"/>
            </a:pPr>
            <a:r>
              <a:rPr lang="en-US" sz="1600" dirty="0"/>
              <a:t>Modularization and versioning</a:t>
            </a:r>
          </a:p>
          <a:p>
            <a:pPr>
              <a:buFontTx/>
              <a:buChar char="-"/>
            </a:pPr>
            <a:r>
              <a:rPr lang="en-US" sz="1600" dirty="0"/>
              <a:t>Idempotency</a:t>
            </a:r>
          </a:p>
          <a:p>
            <a:pPr>
              <a:buFontTx/>
              <a:buChar char="-"/>
            </a:pPr>
            <a:r>
              <a:rPr lang="en-US" sz="1600" dirty="0"/>
              <a:t>Immutability</a:t>
            </a:r>
          </a:p>
          <a:p>
            <a:pPr>
              <a:buFontTx/>
              <a:buChar char="-"/>
            </a:pPr>
            <a:r>
              <a:rPr lang="en-US" sz="1600" dirty="0"/>
              <a:t>CICD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8952275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9806192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FFC8AE4-5582-19C0-DED3-63D8270B8571}"/>
              </a:ext>
            </a:extLst>
          </p:cNvPr>
          <p:cNvGrpSpPr/>
          <p:nvPr/>
        </p:nvGrpSpPr>
        <p:grpSpPr>
          <a:xfrm>
            <a:off x="5075020" y="2636981"/>
            <a:ext cx="1491970" cy="1694291"/>
            <a:chOff x="3591201" y="2800773"/>
            <a:chExt cx="887513" cy="946980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804CD20B-D34E-E250-FE43-7F9A981600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>
              <a:extLst>
                <a:ext uri="{FF2B5EF4-FFF2-40B4-BE49-F238E27FC236}">
                  <a16:creationId xmlns:a16="http://schemas.microsoft.com/office/drawing/2014/main" id="{589B69B8-B088-4632-7BDA-773B26D65C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5E82655F-7EC7-C105-EAA2-389E5E131E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24EF291-C501-D101-0029-071EE9043CF4}"/>
              </a:ext>
            </a:extLst>
          </p:cNvPr>
          <p:cNvSpPr/>
          <p:nvPr/>
        </p:nvSpPr>
        <p:spPr>
          <a:xfrm>
            <a:off x="4187983" y="2655113"/>
            <a:ext cx="3083058" cy="3540825"/>
          </a:xfrm>
          <a:custGeom>
            <a:avLst/>
            <a:gdLst>
              <a:gd name="connsiteX0" fmla="*/ 0 w 3083058"/>
              <a:gd name="connsiteY0" fmla="*/ 513853 h 3540825"/>
              <a:gd name="connsiteX1" fmla="*/ 513853 w 3083058"/>
              <a:gd name="connsiteY1" fmla="*/ 0 h 3540825"/>
              <a:gd name="connsiteX2" fmla="*/ 1068798 w 3083058"/>
              <a:gd name="connsiteY2" fmla="*/ 0 h 3540825"/>
              <a:gd name="connsiteX3" fmla="*/ 1562083 w 3083058"/>
              <a:gd name="connsiteY3" fmla="*/ 0 h 3540825"/>
              <a:gd name="connsiteX4" fmla="*/ 2034813 w 3083058"/>
              <a:gd name="connsiteY4" fmla="*/ 0 h 3540825"/>
              <a:gd name="connsiteX5" fmla="*/ 2569205 w 3083058"/>
              <a:gd name="connsiteY5" fmla="*/ 0 h 3540825"/>
              <a:gd name="connsiteX6" fmla="*/ 3083058 w 3083058"/>
              <a:gd name="connsiteY6" fmla="*/ 513853 h 3540825"/>
              <a:gd name="connsiteX7" fmla="*/ 3083058 w 3083058"/>
              <a:gd name="connsiteY7" fmla="*/ 1016477 h 3540825"/>
              <a:gd name="connsiteX8" fmla="*/ 3083058 w 3083058"/>
              <a:gd name="connsiteY8" fmla="*/ 1569363 h 3540825"/>
              <a:gd name="connsiteX9" fmla="*/ 3083058 w 3083058"/>
              <a:gd name="connsiteY9" fmla="*/ 1996593 h 3540825"/>
              <a:gd name="connsiteX10" fmla="*/ 3083058 w 3083058"/>
              <a:gd name="connsiteY10" fmla="*/ 2499217 h 3540825"/>
              <a:gd name="connsiteX11" fmla="*/ 3083058 w 3083058"/>
              <a:gd name="connsiteY11" fmla="*/ 3026972 h 3540825"/>
              <a:gd name="connsiteX12" fmla="*/ 2569205 w 3083058"/>
              <a:gd name="connsiteY12" fmla="*/ 3540825 h 3540825"/>
              <a:gd name="connsiteX13" fmla="*/ 2055367 w 3083058"/>
              <a:gd name="connsiteY13" fmla="*/ 3540825 h 3540825"/>
              <a:gd name="connsiteX14" fmla="*/ 1582636 w 3083058"/>
              <a:gd name="connsiteY14" fmla="*/ 3540825 h 3540825"/>
              <a:gd name="connsiteX15" fmla="*/ 1068798 w 3083058"/>
              <a:gd name="connsiteY15" fmla="*/ 3540825 h 3540825"/>
              <a:gd name="connsiteX16" fmla="*/ 513853 w 3083058"/>
              <a:gd name="connsiteY16" fmla="*/ 3540825 h 3540825"/>
              <a:gd name="connsiteX17" fmla="*/ 0 w 3083058"/>
              <a:gd name="connsiteY17" fmla="*/ 3026972 h 3540825"/>
              <a:gd name="connsiteX18" fmla="*/ 0 w 3083058"/>
              <a:gd name="connsiteY18" fmla="*/ 2599742 h 3540825"/>
              <a:gd name="connsiteX19" fmla="*/ 0 w 3083058"/>
              <a:gd name="connsiteY19" fmla="*/ 2046856 h 3540825"/>
              <a:gd name="connsiteX20" fmla="*/ 0 w 3083058"/>
              <a:gd name="connsiteY20" fmla="*/ 1544232 h 3540825"/>
              <a:gd name="connsiteX21" fmla="*/ 0 w 3083058"/>
              <a:gd name="connsiteY21" fmla="*/ 1091870 h 3540825"/>
              <a:gd name="connsiteX22" fmla="*/ 0 w 3083058"/>
              <a:gd name="connsiteY22" fmla="*/ 513853 h 354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083058" h="3540825" extrusionOk="0">
                <a:moveTo>
                  <a:pt x="0" y="513853"/>
                </a:moveTo>
                <a:cubicBezTo>
                  <a:pt x="-63821" y="190694"/>
                  <a:pt x="187314" y="16043"/>
                  <a:pt x="513853" y="0"/>
                </a:cubicBezTo>
                <a:cubicBezTo>
                  <a:pt x="713129" y="-14821"/>
                  <a:pt x="869427" y="28123"/>
                  <a:pt x="1068798" y="0"/>
                </a:cubicBezTo>
                <a:cubicBezTo>
                  <a:pt x="1268169" y="-28123"/>
                  <a:pt x="1317565" y="57900"/>
                  <a:pt x="1562083" y="0"/>
                </a:cubicBezTo>
                <a:cubicBezTo>
                  <a:pt x="1806601" y="-57900"/>
                  <a:pt x="1851761" y="11437"/>
                  <a:pt x="2034813" y="0"/>
                </a:cubicBezTo>
                <a:cubicBezTo>
                  <a:pt x="2217865" y="-11437"/>
                  <a:pt x="2452544" y="48083"/>
                  <a:pt x="2569205" y="0"/>
                </a:cubicBezTo>
                <a:cubicBezTo>
                  <a:pt x="2873950" y="-43120"/>
                  <a:pt x="3066959" y="227595"/>
                  <a:pt x="3083058" y="513853"/>
                </a:cubicBezTo>
                <a:cubicBezTo>
                  <a:pt x="3084645" y="647007"/>
                  <a:pt x="3071786" y="798711"/>
                  <a:pt x="3083058" y="1016477"/>
                </a:cubicBezTo>
                <a:cubicBezTo>
                  <a:pt x="3094330" y="1234243"/>
                  <a:pt x="3034871" y="1414205"/>
                  <a:pt x="3083058" y="1569363"/>
                </a:cubicBezTo>
                <a:cubicBezTo>
                  <a:pt x="3131245" y="1724521"/>
                  <a:pt x="3040623" y="1860339"/>
                  <a:pt x="3083058" y="1996593"/>
                </a:cubicBezTo>
                <a:cubicBezTo>
                  <a:pt x="3125493" y="2132847"/>
                  <a:pt x="3073548" y="2354671"/>
                  <a:pt x="3083058" y="2499217"/>
                </a:cubicBezTo>
                <a:cubicBezTo>
                  <a:pt x="3092568" y="2643763"/>
                  <a:pt x="3046948" y="2798149"/>
                  <a:pt x="3083058" y="3026972"/>
                </a:cubicBezTo>
                <a:cubicBezTo>
                  <a:pt x="3128088" y="3266268"/>
                  <a:pt x="2908958" y="3504742"/>
                  <a:pt x="2569205" y="3540825"/>
                </a:cubicBezTo>
                <a:cubicBezTo>
                  <a:pt x="2439243" y="3581174"/>
                  <a:pt x="2174681" y="3489289"/>
                  <a:pt x="2055367" y="3540825"/>
                </a:cubicBezTo>
                <a:cubicBezTo>
                  <a:pt x="1936053" y="3592361"/>
                  <a:pt x="1730368" y="3534225"/>
                  <a:pt x="1582636" y="3540825"/>
                </a:cubicBezTo>
                <a:cubicBezTo>
                  <a:pt x="1434904" y="3547425"/>
                  <a:pt x="1224339" y="3521937"/>
                  <a:pt x="1068798" y="3540825"/>
                </a:cubicBezTo>
                <a:cubicBezTo>
                  <a:pt x="913257" y="3559713"/>
                  <a:pt x="735699" y="3485737"/>
                  <a:pt x="513853" y="3540825"/>
                </a:cubicBezTo>
                <a:cubicBezTo>
                  <a:pt x="219566" y="3509258"/>
                  <a:pt x="76651" y="3295193"/>
                  <a:pt x="0" y="3026972"/>
                </a:cubicBezTo>
                <a:cubicBezTo>
                  <a:pt x="-33977" y="2891023"/>
                  <a:pt x="13887" y="2801848"/>
                  <a:pt x="0" y="2599742"/>
                </a:cubicBezTo>
                <a:cubicBezTo>
                  <a:pt x="-13887" y="2397636"/>
                  <a:pt x="41711" y="2235790"/>
                  <a:pt x="0" y="2046856"/>
                </a:cubicBezTo>
                <a:cubicBezTo>
                  <a:pt x="-41711" y="1857922"/>
                  <a:pt x="34097" y="1747840"/>
                  <a:pt x="0" y="1544232"/>
                </a:cubicBezTo>
                <a:cubicBezTo>
                  <a:pt x="-34097" y="1340624"/>
                  <a:pt x="25886" y="1240929"/>
                  <a:pt x="0" y="1091870"/>
                </a:cubicBezTo>
                <a:cubicBezTo>
                  <a:pt x="-25886" y="942811"/>
                  <a:pt x="64959" y="742895"/>
                  <a:pt x="0" y="513853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4707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2404ABF-311B-4C82-86A1-8C2F926F51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2404ABF-311B-4C82-86A1-8C2F926F51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CBC95CE5-6B46-4749-8037-32F37DFED6D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4" name="Freeform 46">
            <a:extLst>
              <a:ext uri="{FF2B5EF4-FFF2-40B4-BE49-F238E27FC236}">
                <a16:creationId xmlns:a16="http://schemas.microsoft.com/office/drawing/2014/main" id="{B47F8AEC-0526-4A86-A53A-BDDC597416CE}"/>
              </a:ext>
            </a:extLst>
          </p:cNvPr>
          <p:cNvSpPr/>
          <p:nvPr/>
        </p:nvSpPr>
        <p:spPr>
          <a:xfrm>
            <a:off x="7225681" y="1104290"/>
            <a:ext cx="1989601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Freeform 46">
            <a:extLst>
              <a:ext uri="{FF2B5EF4-FFF2-40B4-BE49-F238E27FC236}">
                <a16:creationId xmlns:a16="http://schemas.microsoft.com/office/drawing/2014/main" id="{D0E50AF2-0884-4E4A-B3F8-055FAD6842F5}"/>
              </a:ext>
            </a:extLst>
          </p:cNvPr>
          <p:cNvSpPr/>
          <p:nvPr/>
        </p:nvSpPr>
        <p:spPr>
          <a:xfrm>
            <a:off x="8147701" y="3055010"/>
            <a:ext cx="1989601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6" name="Freeform 46">
            <a:extLst>
              <a:ext uri="{FF2B5EF4-FFF2-40B4-BE49-F238E27FC236}">
                <a16:creationId xmlns:a16="http://schemas.microsoft.com/office/drawing/2014/main" id="{DC3678E8-E328-4F87-817A-3696F6E2EB7A}"/>
              </a:ext>
            </a:extLst>
          </p:cNvPr>
          <p:cNvSpPr/>
          <p:nvPr/>
        </p:nvSpPr>
        <p:spPr>
          <a:xfrm>
            <a:off x="7225681" y="4961915"/>
            <a:ext cx="1989601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任意多边形: 形状 16">
            <a:extLst>
              <a:ext uri="{FF2B5EF4-FFF2-40B4-BE49-F238E27FC236}">
                <a16:creationId xmlns:a16="http://schemas.microsoft.com/office/drawing/2014/main" id="{D794E18D-9977-46BD-8B0A-01B80EF9FD2A}"/>
              </a:ext>
            </a:extLst>
          </p:cNvPr>
          <p:cNvSpPr/>
          <p:nvPr/>
        </p:nvSpPr>
        <p:spPr>
          <a:xfrm rot="5400000" flipH="1">
            <a:off x="459329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任意多边形: 形状 16">
            <a:extLst>
              <a:ext uri="{FF2B5EF4-FFF2-40B4-BE49-F238E27FC236}">
                <a16:creationId xmlns:a16="http://schemas.microsoft.com/office/drawing/2014/main" id="{4B120BF0-97E1-4511-B539-159342009EB6}"/>
              </a:ext>
            </a:extLst>
          </p:cNvPr>
          <p:cNvSpPr/>
          <p:nvPr/>
        </p:nvSpPr>
        <p:spPr>
          <a:xfrm rot="5400000" flipH="1">
            <a:off x="459329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Rectángulo 6175">
            <a:extLst>
              <a:ext uri="{FF2B5EF4-FFF2-40B4-BE49-F238E27FC236}">
                <a16:creationId xmlns:a16="http://schemas.microsoft.com/office/drawing/2014/main" id="{084BFAB7-1E03-4EB2-8CCE-0C5CACEA3CC1}"/>
              </a:ext>
            </a:extLst>
          </p:cNvPr>
          <p:cNvSpPr/>
          <p:nvPr/>
        </p:nvSpPr>
        <p:spPr>
          <a:xfrm>
            <a:off x="1" y="0"/>
            <a:ext cx="5545550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任意多边形: 形状 16">
            <a:extLst>
              <a:ext uri="{FF2B5EF4-FFF2-40B4-BE49-F238E27FC236}">
                <a16:creationId xmlns:a16="http://schemas.microsoft.com/office/drawing/2014/main" id="{E4B93134-654E-4019-A634-7D3215DB38CD}"/>
              </a:ext>
            </a:extLst>
          </p:cNvPr>
          <p:cNvSpPr/>
          <p:nvPr/>
        </p:nvSpPr>
        <p:spPr>
          <a:xfrm rot="5400000" flipH="1">
            <a:off x="4255769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任意多边形: 形状 16">
            <a:extLst>
              <a:ext uri="{FF2B5EF4-FFF2-40B4-BE49-F238E27FC236}">
                <a16:creationId xmlns:a16="http://schemas.microsoft.com/office/drawing/2014/main" id="{5554B1C5-6BA6-45C1-B78B-5EFC720BF1CD}"/>
              </a:ext>
            </a:extLst>
          </p:cNvPr>
          <p:cNvSpPr/>
          <p:nvPr/>
        </p:nvSpPr>
        <p:spPr>
          <a:xfrm rot="5400000" flipH="1">
            <a:off x="4255769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FDC3C6D-99CD-4029-A4B2-66084947B1BB}"/>
              </a:ext>
            </a:extLst>
          </p:cNvPr>
          <p:cNvSpPr/>
          <p:nvPr/>
        </p:nvSpPr>
        <p:spPr>
          <a:xfrm>
            <a:off x="3650343" y="983343"/>
            <a:ext cx="4891314" cy="4891314"/>
          </a:xfrm>
          <a:prstGeom prst="ellipse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1CC1986-C0F2-4C1B-8575-225EEE4D56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078" y="2263628"/>
            <a:ext cx="3313587" cy="2285154"/>
          </a:xfrm>
        </p:spPr>
        <p:txBody>
          <a:bodyPr lIns="0" rIns="0">
            <a:noAutofit/>
          </a:bodyPr>
          <a:lstStyle/>
          <a:p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t there are multiple </a:t>
            </a:r>
            <a:r>
              <a:rPr lang="en-US" sz="36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aC</a:t>
            </a:r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applications</a:t>
            </a:r>
            <a:endParaRPr lang="en-US" sz="36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Arc 26">
            <a:extLst>
              <a:ext uri="{FF2B5EF4-FFF2-40B4-BE49-F238E27FC236}">
                <a16:creationId xmlns:a16="http://schemas.microsoft.com/office/drawing/2014/main" id="{293895EF-F846-482A-9164-DAB9FF74888E}"/>
              </a:ext>
            </a:extLst>
          </p:cNvPr>
          <p:cNvSpPr/>
          <p:nvPr/>
        </p:nvSpPr>
        <p:spPr>
          <a:xfrm>
            <a:off x="3862388" y="1195388"/>
            <a:ext cx="4467224" cy="4467224"/>
          </a:xfrm>
          <a:prstGeom prst="arc">
            <a:avLst>
              <a:gd name="adj1" fmla="val 14589245"/>
              <a:gd name="adj2" fmla="val 11716576"/>
            </a:avLst>
          </a:prstGeom>
          <a:ln>
            <a:solidFill>
              <a:schemeClr val="bg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FBDDD12-3C77-42DB-8FC3-015BD08CFBC9}"/>
              </a:ext>
            </a:extLst>
          </p:cNvPr>
          <p:cNvGrpSpPr/>
          <p:nvPr/>
        </p:nvGrpSpPr>
        <p:grpSpPr>
          <a:xfrm>
            <a:off x="7074409" y="984769"/>
            <a:ext cx="971518" cy="971518"/>
            <a:chOff x="7187500" y="839949"/>
            <a:chExt cx="1422400" cy="1422400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17557160-3B88-4BD6-9B6B-2EB953316367}"/>
                </a:ext>
              </a:extLst>
            </p:cNvPr>
            <p:cNvSpPr/>
            <p:nvPr/>
          </p:nvSpPr>
          <p:spPr>
            <a:xfrm>
              <a:off x="7187500" y="839949"/>
              <a:ext cx="1422400" cy="142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6965462A-E6F0-45F8-B9C4-B22E3BB15E7A}"/>
                </a:ext>
              </a:extLst>
            </p:cNvPr>
            <p:cNvSpPr/>
            <p:nvPr/>
          </p:nvSpPr>
          <p:spPr>
            <a:xfrm>
              <a:off x="7412941" y="1065390"/>
              <a:ext cx="971519" cy="971519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EE1CABC-4ED7-444D-AE75-BCE325B91580}"/>
              </a:ext>
            </a:extLst>
          </p:cNvPr>
          <p:cNvGrpSpPr/>
          <p:nvPr/>
        </p:nvGrpSpPr>
        <p:grpSpPr>
          <a:xfrm>
            <a:off x="7074409" y="4856124"/>
            <a:ext cx="971518" cy="971518"/>
            <a:chOff x="7187500" y="839949"/>
            <a:chExt cx="1422400" cy="1422400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4B5B7F71-CE1F-41E1-9696-A6D450502C82}"/>
                </a:ext>
              </a:extLst>
            </p:cNvPr>
            <p:cNvSpPr/>
            <p:nvPr/>
          </p:nvSpPr>
          <p:spPr>
            <a:xfrm>
              <a:off x="7187500" y="839949"/>
              <a:ext cx="1422400" cy="142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547A7379-3B63-47B1-A78C-F06AD7855627}"/>
                </a:ext>
              </a:extLst>
            </p:cNvPr>
            <p:cNvSpPr/>
            <p:nvPr/>
          </p:nvSpPr>
          <p:spPr>
            <a:xfrm>
              <a:off x="7412941" y="1065390"/>
              <a:ext cx="971519" cy="971519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99B3873-668D-43B5-9506-34B08AD24C4A}"/>
              </a:ext>
            </a:extLst>
          </p:cNvPr>
          <p:cNvGrpSpPr/>
          <p:nvPr/>
        </p:nvGrpSpPr>
        <p:grpSpPr>
          <a:xfrm>
            <a:off x="8024435" y="2920446"/>
            <a:ext cx="971518" cy="971518"/>
            <a:chOff x="7187500" y="839949"/>
            <a:chExt cx="1422400" cy="142240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FC6A1AEC-37B7-4291-B20C-58B8E0F6586B}"/>
                </a:ext>
              </a:extLst>
            </p:cNvPr>
            <p:cNvSpPr/>
            <p:nvPr/>
          </p:nvSpPr>
          <p:spPr>
            <a:xfrm>
              <a:off x="7187500" y="839949"/>
              <a:ext cx="1422400" cy="142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12DEC58-618B-45F5-9FE7-3128DCC314BD}"/>
                </a:ext>
              </a:extLst>
            </p:cNvPr>
            <p:cNvSpPr/>
            <p:nvPr/>
          </p:nvSpPr>
          <p:spPr>
            <a:xfrm>
              <a:off x="7412941" y="1065390"/>
              <a:ext cx="971519" cy="971519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1" name="Title 1">
            <a:extLst>
              <a:ext uri="{FF2B5EF4-FFF2-40B4-BE49-F238E27FC236}">
                <a16:creationId xmlns:a16="http://schemas.microsoft.com/office/drawing/2014/main" id="{246F018F-2061-4376-B7CA-EA7870C7DF33}"/>
              </a:ext>
            </a:extLst>
          </p:cNvPr>
          <p:cNvSpPr txBox="1">
            <a:spLocks/>
          </p:cNvSpPr>
          <p:nvPr/>
        </p:nvSpPr>
        <p:spPr>
          <a:xfrm>
            <a:off x="8106203" y="1214879"/>
            <a:ext cx="1022164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ipelines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A4781CB8-6941-4A5A-B54F-1F881A26A730}"/>
              </a:ext>
            </a:extLst>
          </p:cNvPr>
          <p:cNvSpPr txBox="1">
            <a:spLocks/>
          </p:cNvSpPr>
          <p:nvPr/>
        </p:nvSpPr>
        <p:spPr>
          <a:xfrm>
            <a:off x="8125296" y="5086235"/>
            <a:ext cx="931162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talog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AB2ACD1-6140-4842-BC3E-5D762A5714D4}"/>
              </a:ext>
            </a:extLst>
          </p:cNvPr>
          <p:cNvSpPr txBox="1">
            <a:spLocks/>
          </p:cNvSpPr>
          <p:nvPr/>
        </p:nvSpPr>
        <p:spPr>
          <a:xfrm>
            <a:off x="9056458" y="3150557"/>
            <a:ext cx="818269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itOps</a:t>
            </a:r>
            <a:endParaRPr lang="en-US" sz="18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C8A0FE49-A2E6-4288-95C1-416B721FE671}"/>
              </a:ext>
            </a:extLst>
          </p:cNvPr>
          <p:cNvSpPr txBox="1">
            <a:spLocks/>
          </p:cNvSpPr>
          <p:nvPr/>
        </p:nvSpPr>
        <p:spPr>
          <a:xfrm>
            <a:off x="9448630" y="1214879"/>
            <a:ext cx="2409941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nually triggered on demand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4C541DA1-3474-448E-85B7-DCDCAB60D849}"/>
              </a:ext>
            </a:extLst>
          </p:cNvPr>
          <p:cNvSpPr txBox="1">
            <a:spLocks/>
          </p:cNvSpPr>
          <p:nvPr/>
        </p:nvSpPr>
        <p:spPr>
          <a:xfrm>
            <a:off x="10279883" y="3165599"/>
            <a:ext cx="1483492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o triggered on PR merge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4D0DD9E9-8C48-41FB-81FC-E16539A15F21}"/>
              </a:ext>
            </a:extLst>
          </p:cNvPr>
          <p:cNvSpPr txBox="1">
            <a:spLocks/>
          </p:cNvSpPr>
          <p:nvPr/>
        </p:nvSpPr>
        <p:spPr>
          <a:xfrm>
            <a:off x="9448630" y="5072504"/>
            <a:ext cx="1989601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grammatically triggered on request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22ED8AD-AED4-42BC-AACE-20BBBC45C718}"/>
              </a:ext>
            </a:extLst>
          </p:cNvPr>
          <p:cNvCxnSpPr/>
          <p:nvPr/>
        </p:nvCxnSpPr>
        <p:spPr>
          <a:xfrm>
            <a:off x="8680862" y="2410691"/>
            <a:ext cx="305195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D3D272C-D42D-4CD7-B1F7-D4937D10881E}"/>
              </a:ext>
            </a:extLst>
          </p:cNvPr>
          <p:cNvCxnSpPr/>
          <p:nvPr/>
        </p:nvCxnSpPr>
        <p:spPr>
          <a:xfrm>
            <a:off x="8680862" y="4374700"/>
            <a:ext cx="305195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5174314-214B-44D4-B0A8-B89762E3047B}"/>
              </a:ext>
            </a:extLst>
          </p:cNvPr>
          <p:cNvGrpSpPr/>
          <p:nvPr/>
        </p:nvGrpSpPr>
        <p:grpSpPr>
          <a:xfrm>
            <a:off x="8352866" y="3261826"/>
            <a:ext cx="314657" cy="288759"/>
            <a:chOff x="10487025" y="5419725"/>
            <a:chExt cx="771525" cy="708026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45" name="Freeform 367">
              <a:extLst>
                <a:ext uri="{FF2B5EF4-FFF2-40B4-BE49-F238E27FC236}">
                  <a16:creationId xmlns:a16="http://schemas.microsoft.com/office/drawing/2014/main" id="{5EC80E6D-AA47-4E41-A37B-131180562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87025" y="5419725"/>
              <a:ext cx="771525" cy="631825"/>
            </a:xfrm>
            <a:custGeom>
              <a:avLst/>
              <a:gdLst>
                <a:gd name="T0" fmla="*/ 179 w 204"/>
                <a:gd name="T1" fmla="*/ 0 h 167"/>
                <a:gd name="T2" fmla="*/ 204 w 204"/>
                <a:gd name="T3" fmla="*/ 26 h 167"/>
                <a:gd name="T4" fmla="*/ 204 w 204"/>
                <a:gd name="T5" fmla="*/ 141 h 167"/>
                <a:gd name="T6" fmla="*/ 179 w 204"/>
                <a:gd name="T7" fmla="*/ 167 h 167"/>
                <a:gd name="T8" fmla="*/ 25 w 204"/>
                <a:gd name="T9" fmla="*/ 167 h 167"/>
                <a:gd name="T10" fmla="*/ 0 w 204"/>
                <a:gd name="T11" fmla="*/ 141 h 167"/>
                <a:gd name="T12" fmla="*/ 0 w 204"/>
                <a:gd name="T13" fmla="*/ 26 h 167"/>
                <a:gd name="T14" fmla="*/ 25 w 204"/>
                <a:gd name="T15" fmla="*/ 0 h 167"/>
                <a:gd name="T16" fmla="*/ 179 w 204"/>
                <a:gd name="T17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4" h="167">
                  <a:moveTo>
                    <a:pt x="179" y="0"/>
                  </a:moveTo>
                  <a:cubicBezTo>
                    <a:pt x="193" y="0"/>
                    <a:pt x="204" y="12"/>
                    <a:pt x="204" y="26"/>
                  </a:cubicBezTo>
                  <a:cubicBezTo>
                    <a:pt x="204" y="141"/>
                    <a:pt x="204" y="141"/>
                    <a:pt x="204" y="141"/>
                  </a:cubicBezTo>
                  <a:cubicBezTo>
                    <a:pt x="204" y="155"/>
                    <a:pt x="193" y="167"/>
                    <a:pt x="179" y="167"/>
                  </a:cubicBezTo>
                  <a:cubicBezTo>
                    <a:pt x="25" y="167"/>
                    <a:pt x="25" y="167"/>
                    <a:pt x="25" y="167"/>
                  </a:cubicBezTo>
                  <a:cubicBezTo>
                    <a:pt x="11" y="167"/>
                    <a:pt x="0" y="155"/>
                    <a:pt x="0" y="141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1" y="0"/>
                    <a:pt x="25" y="0"/>
                  </a:cubicBezTo>
                  <a:lnTo>
                    <a:pt x="17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Freeform 368">
              <a:extLst>
                <a:ext uri="{FF2B5EF4-FFF2-40B4-BE49-F238E27FC236}">
                  <a16:creationId xmlns:a16="http://schemas.microsoft.com/office/drawing/2014/main" id="{0ACB42E4-A2BA-4F05-97F9-E43EE7846F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4500" y="5922963"/>
              <a:ext cx="204788" cy="204788"/>
            </a:xfrm>
            <a:custGeom>
              <a:avLst/>
              <a:gdLst>
                <a:gd name="T0" fmla="*/ 54 w 54"/>
                <a:gd name="T1" fmla="*/ 15 h 54"/>
                <a:gd name="T2" fmla="*/ 20 w 54"/>
                <a:gd name="T3" fmla="*/ 50 h 54"/>
                <a:gd name="T4" fmla="*/ 4 w 54"/>
                <a:gd name="T5" fmla="*/ 50 h 54"/>
                <a:gd name="T6" fmla="*/ 4 w 54"/>
                <a:gd name="T7" fmla="*/ 34 h 54"/>
                <a:gd name="T8" fmla="*/ 39 w 54"/>
                <a:gd name="T9" fmla="*/ 0 h 54"/>
                <a:gd name="T10" fmla="*/ 54 w 54"/>
                <a:gd name="T11" fmla="*/ 1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" h="54">
                  <a:moveTo>
                    <a:pt x="54" y="15"/>
                  </a:moveTo>
                  <a:cubicBezTo>
                    <a:pt x="20" y="50"/>
                    <a:pt x="20" y="50"/>
                    <a:pt x="20" y="50"/>
                  </a:cubicBezTo>
                  <a:cubicBezTo>
                    <a:pt x="15" y="54"/>
                    <a:pt x="8" y="54"/>
                    <a:pt x="4" y="50"/>
                  </a:cubicBezTo>
                  <a:cubicBezTo>
                    <a:pt x="0" y="45"/>
                    <a:pt x="0" y="38"/>
                    <a:pt x="4" y="34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3" y="6"/>
                    <a:pt x="48" y="11"/>
                    <a:pt x="54" y="15"/>
                  </a:cubicBezTo>
                  <a:close/>
                </a:path>
              </a:pathLst>
            </a:custGeom>
            <a:solidFill>
              <a:srgbClr val="844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Freeform 369">
              <a:extLst>
                <a:ext uri="{FF2B5EF4-FFF2-40B4-BE49-F238E27FC236}">
                  <a16:creationId xmlns:a16="http://schemas.microsoft.com/office/drawing/2014/main" id="{E36109EF-0CF9-43D9-B290-3BED1D328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4500" y="5922963"/>
              <a:ext cx="169863" cy="188913"/>
            </a:xfrm>
            <a:custGeom>
              <a:avLst/>
              <a:gdLst>
                <a:gd name="T0" fmla="*/ 45 w 45"/>
                <a:gd name="T1" fmla="*/ 8 h 50"/>
                <a:gd name="T2" fmla="*/ 4 w 45"/>
                <a:gd name="T3" fmla="*/ 50 h 50"/>
                <a:gd name="T4" fmla="*/ 4 w 45"/>
                <a:gd name="T5" fmla="*/ 34 h 50"/>
                <a:gd name="T6" fmla="*/ 39 w 45"/>
                <a:gd name="T7" fmla="*/ 0 h 50"/>
                <a:gd name="T8" fmla="*/ 45 w 45"/>
                <a:gd name="T9" fmla="*/ 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0">
                  <a:moveTo>
                    <a:pt x="45" y="8"/>
                  </a:moveTo>
                  <a:cubicBezTo>
                    <a:pt x="4" y="50"/>
                    <a:pt x="4" y="50"/>
                    <a:pt x="4" y="50"/>
                  </a:cubicBezTo>
                  <a:cubicBezTo>
                    <a:pt x="0" y="45"/>
                    <a:pt x="0" y="38"/>
                    <a:pt x="4" y="34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1" y="3"/>
                    <a:pt x="43" y="6"/>
                    <a:pt x="45" y="8"/>
                  </a:cubicBezTo>
                  <a:close/>
                </a:path>
              </a:pathLst>
            </a:cu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Oval 370">
              <a:extLst>
                <a:ext uri="{FF2B5EF4-FFF2-40B4-BE49-F238E27FC236}">
                  <a16:creationId xmlns:a16="http://schemas.microsoft.com/office/drawing/2014/main" id="{E48A5C1D-9A2B-41C9-ADBF-BEB0BF46A9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25150" y="5654675"/>
              <a:ext cx="352425" cy="3524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Freeform 371">
              <a:extLst>
                <a:ext uri="{FF2B5EF4-FFF2-40B4-BE49-F238E27FC236}">
                  <a16:creationId xmlns:a16="http://schemas.microsoft.com/office/drawing/2014/main" id="{5D33A2C2-C5CD-4957-AEB8-AE23F602E1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02925" y="5632450"/>
              <a:ext cx="396875" cy="396875"/>
            </a:xfrm>
            <a:custGeom>
              <a:avLst/>
              <a:gdLst>
                <a:gd name="T0" fmla="*/ 53 w 105"/>
                <a:gd name="T1" fmla="*/ 0 h 105"/>
                <a:gd name="T2" fmla="*/ 0 w 105"/>
                <a:gd name="T3" fmla="*/ 52 h 105"/>
                <a:gd name="T4" fmla="*/ 53 w 105"/>
                <a:gd name="T5" fmla="*/ 105 h 105"/>
                <a:gd name="T6" fmla="*/ 105 w 105"/>
                <a:gd name="T7" fmla="*/ 52 h 105"/>
                <a:gd name="T8" fmla="*/ 53 w 105"/>
                <a:gd name="T9" fmla="*/ 0 h 105"/>
                <a:gd name="T10" fmla="*/ 53 w 105"/>
                <a:gd name="T11" fmla="*/ 6 h 105"/>
                <a:gd name="T12" fmla="*/ 99 w 105"/>
                <a:gd name="T13" fmla="*/ 52 h 105"/>
                <a:gd name="T14" fmla="*/ 53 w 105"/>
                <a:gd name="T15" fmla="*/ 99 h 105"/>
                <a:gd name="T16" fmla="*/ 6 w 105"/>
                <a:gd name="T17" fmla="*/ 52 h 105"/>
                <a:gd name="T18" fmla="*/ 53 w 105"/>
                <a:gd name="T19" fmla="*/ 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5" h="105">
                  <a:moveTo>
                    <a:pt x="53" y="0"/>
                  </a:moveTo>
                  <a:cubicBezTo>
                    <a:pt x="24" y="0"/>
                    <a:pt x="0" y="23"/>
                    <a:pt x="0" y="52"/>
                  </a:cubicBezTo>
                  <a:cubicBezTo>
                    <a:pt x="0" y="82"/>
                    <a:pt x="24" y="105"/>
                    <a:pt x="53" y="105"/>
                  </a:cubicBezTo>
                  <a:cubicBezTo>
                    <a:pt x="82" y="105"/>
                    <a:pt x="105" y="82"/>
                    <a:pt x="105" y="52"/>
                  </a:cubicBezTo>
                  <a:cubicBezTo>
                    <a:pt x="105" y="23"/>
                    <a:pt x="82" y="0"/>
                    <a:pt x="53" y="0"/>
                  </a:cubicBezTo>
                  <a:close/>
                  <a:moveTo>
                    <a:pt x="53" y="6"/>
                  </a:moveTo>
                  <a:cubicBezTo>
                    <a:pt x="78" y="6"/>
                    <a:pt x="99" y="27"/>
                    <a:pt x="99" y="52"/>
                  </a:cubicBezTo>
                  <a:cubicBezTo>
                    <a:pt x="99" y="78"/>
                    <a:pt x="78" y="99"/>
                    <a:pt x="53" y="99"/>
                  </a:cubicBezTo>
                  <a:cubicBezTo>
                    <a:pt x="27" y="99"/>
                    <a:pt x="6" y="78"/>
                    <a:pt x="6" y="52"/>
                  </a:cubicBezTo>
                  <a:cubicBezTo>
                    <a:pt x="6" y="27"/>
                    <a:pt x="27" y="6"/>
                    <a:pt x="53" y="6"/>
                  </a:cubicBezTo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372">
              <a:extLst>
                <a:ext uri="{FF2B5EF4-FFF2-40B4-BE49-F238E27FC236}">
                  <a16:creationId xmlns:a16="http://schemas.microsoft.com/office/drawing/2014/main" id="{A78EA274-916D-471C-833C-AB32463003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63250" y="5689600"/>
              <a:ext cx="279400" cy="279400"/>
            </a:xfrm>
            <a:prstGeom prst="ellipse">
              <a:avLst/>
            </a:pr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373">
              <a:extLst>
                <a:ext uri="{FF2B5EF4-FFF2-40B4-BE49-F238E27FC236}">
                  <a16:creationId xmlns:a16="http://schemas.microsoft.com/office/drawing/2014/main" id="{8331D725-F462-43C5-BA9A-794179687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63250" y="5689600"/>
              <a:ext cx="238125" cy="238125"/>
            </a:xfrm>
            <a:custGeom>
              <a:avLst/>
              <a:gdLst>
                <a:gd name="T0" fmla="*/ 37 w 63"/>
                <a:gd name="T1" fmla="*/ 0 h 63"/>
                <a:gd name="T2" fmla="*/ 0 w 63"/>
                <a:gd name="T3" fmla="*/ 37 h 63"/>
                <a:gd name="T4" fmla="*/ 10 w 63"/>
                <a:gd name="T5" fmla="*/ 63 h 63"/>
                <a:gd name="T6" fmla="*/ 63 w 63"/>
                <a:gd name="T7" fmla="*/ 11 h 63"/>
                <a:gd name="T8" fmla="*/ 37 w 63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0"/>
                  </a:moveTo>
                  <a:cubicBezTo>
                    <a:pt x="16" y="0"/>
                    <a:pt x="0" y="17"/>
                    <a:pt x="0" y="37"/>
                  </a:cubicBezTo>
                  <a:cubicBezTo>
                    <a:pt x="0" y="48"/>
                    <a:pt x="4" y="57"/>
                    <a:pt x="10" y="63"/>
                  </a:cubicBezTo>
                  <a:cubicBezTo>
                    <a:pt x="63" y="11"/>
                    <a:pt x="63" y="11"/>
                    <a:pt x="63" y="11"/>
                  </a:cubicBezTo>
                  <a:cubicBezTo>
                    <a:pt x="56" y="5"/>
                    <a:pt x="47" y="0"/>
                    <a:pt x="37" y="0"/>
                  </a:cubicBezTo>
                  <a:close/>
                </a:path>
              </a:pathLst>
            </a:custGeom>
            <a:solidFill>
              <a:srgbClr val="9CE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Freeform 374">
              <a:extLst>
                <a:ext uri="{FF2B5EF4-FFF2-40B4-BE49-F238E27FC236}">
                  <a16:creationId xmlns:a16="http://schemas.microsoft.com/office/drawing/2014/main" id="{1DFB4173-FFE0-4549-B478-1979F38CD5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87025" y="5419725"/>
              <a:ext cx="771525" cy="147638"/>
            </a:xfrm>
            <a:custGeom>
              <a:avLst/>
              <a:gdLst>
                <a:gd name="T0" fmla="*/ 179 w 204"/>
                <a:gd name="T1" fmla="*/ 0 h 39"/>
                <a:gd name="T2" fmla="*/ 25 w 204"/>
                <a:gd name="T3" fmla="*/ 0 h 39"/>
                <a:gd name="T4" fmla="*/ 0 w 204"/>
                <a:gd name="T5" fmla="*/ 26 h 39"/>
                <a:gd name="T6" fmla="*/ 0 w 204"/>
                <a:gd name="T7" fmla="*/ 39 h 39"/>
                <a:gd name="T8" fmla="*/ 204 w 204"/>
                <a:gd name="T9" fmla="*/ 39 h 39"/>
                <a:gd name="T10" fmla="*/ 204 w 204"/>
                <a:gd name="T11" fmla="*/ 26 h 39"/>
                <a:gd name="T12" fmla="*/ 179 w 204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39">
                  <a:moveTo>
                    <a:pt x="17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204" y="39"/>
                    <a:pt x="204" y="39"/>
                    <a:pt x="204" y="39"/>
                  </a:cubicBezTo>
                  <a:cubicBezTo>
                    <a:pt x="204" y="26"/>
                    <a:pt x="204" y="26"/>
                    <a:pt x="204" y="26"/>
                  </a:cubicBezTo>
                  <a:cubicBezTo>
                    <a:pt x="204" y="12"/>
                    <a:pt x="193" y="0"/>
                    <a:pt x="179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Oval 375">
              <a:extLst>
                <a:ext uri="{FF2B5EF4-FFF2-40B4-BE49-F238E27FC236}">
                  <a16:creationId xmlns:a16="http://schemas.microsoft.com/office/drawing/2014/main" id="{111975E7-F3B2-4A1C-A51E-2FA59088AD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71163" y="5468938"/>
              <a:ext cx="49213" cy="49213"/>
            </a:xfrm>
            <a:prstGeom prst="ellipse">
              <a:avLst/>
            </a:pr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Oval 376">
              <a:extLst>
                <a:ext uri="{FF2B5EF4-FFF2-40B4-BE49-F238E27FC236}">
                  <a16:creationId xmlns:a16="http://schemas.microsoft.com/office/drawing/2014/main" id="{7A8CF8EB-F8E2-4C75-8AEB-6A3F3D4086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69588" y="5468938"/>
              <a:ext cx="44450" cy="49213"/>
            </a:xfrm>
            <a:prstGeom prst="ellipse">
              <a:avLst/>
            </a:pr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Oval 377">
              <a:extLst>
                <a:ext uri="{FF2B5EF4-FFF2-40B4-BE49-F238E27FC236}">
                  <a16:creationId xmlns:a16="http://schemas.microsoft.com/office/drawing/2014/main" id="{1BBE882E-3FCA-48D4-8E6A-DD9ED8675F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63250" y="5468938"/>
              <a:ext cx="49213" cy="49213"/>
            </a:xfrm>
            <a:prstGeom prst="ellipse">
              <a:avLst/>
            </a:prstGeom>
            <a:solidFill>
              <a:srgbClr val="17B1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A84E2044-D88D-4B2F-BFB6-D4D8F0C7B05B}"/>
              </a:ext>
            </a:extLst>
          </p:cNvPr>
          <p:cNvGrpSpPr/>
          <p:nvPr/>
        </p:nvGrpSpPr>
        <p:grpSpPr>
          <a:xfrm>
            <a:off x="7392128" y="1324032"/>
            <a:ext cx="336080" cy="292993"/>
            <a:chOff x="1216026" y="5511800"/>
            <a:chExt cx="681038" cy="593725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58" name="Freeform 437">
              <a:extLst>
                <a:ext uri="{FF2B5EF4-FFF2-40B4-BE49-F238E27FC236}">
                  <a16:creationId xmlns:a16="http://schemas.microsoft.com/office/drawing/2014/main" id="{0A4487A2-573C-4F43-986C-9D98A08D1F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026" y="5511800"/>
              <a:ext cx="681038" cy="593725"/>
            </a:xfrm>
            <a:custGeom>
              <a:avLst/>
              <a:gdLst>
                <a:gd name="T0" fmla="*/ 245 w 429"/>
                <a:gd name="T1" fmla="*/ 0 h 374"/>
                <a:gd name="T2" fmla="*/ 0 w 429"/>
                <a:gd name="T3" fmla="*/ 90 h 374"/>
                <a:gd name="T4" fmla="*/ 0 w 429"/>
                <a:gd name="T5" fmla="*/ 281 h 374"/>
                <a:gd name="T6" fmla="*/ 183 w 429"/>
                <a:gd name="T7" fmla="*/ 374 h 374"/>
                <a:gd name="T8" fmla="*/ 429 w 429"/>
                <a:gd name="T9" fmla="*/ 281 h 374"/>
                <a:gd name="T10" fmla="*/ 429 w 429"/>
                <a:gd name="T11" fmla="*/ 90 h 374"/>
                <a:gd name="T12" fmla="*/ 245 w 429"/>
                <a:gd name="T13" fmla="*/ 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9" h="374">
                  <a:moveTo>
                    <a:pt x="245" y="0"/>
                  </a:moveTo>
                  <a:lnTo>
                    <a:pt x="0" y="90"/>
                  </a:lnTo>
                  <a:lnTo>
                    <a:pt x="0" y="281"/>
                  </a:lnTo>
                  <a:lnTo>
                    <a:pt x="183" y="374"/>
                  </a:lnTo>
                  <a:lnTo>
                    <a:pt x="429" y="281"/>
                  </a:lnTo>
                  <a:lnTo>
                    <a:pt x="429" y="90"/>
                  </a:lnTo>
                  <a:lnTo>
                    <a:pt x="245" y="0"/>
                  </a:lnTo>
                  <a:close/>
                </a:path>
              </a:pathLst>
            </a:cu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Freeform 438">
              <a:extLst>
                <a:ext uri="{FF2B5EF4-FFF2-40B4-BE49-F238E27FC236}">
                  <a16:creationId xmlns:a16="http://schemas.microsoft.com/office/drawing/2014/main" id="{DFCC6E98-013A-4C08-B399-60D44CE74D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5654675"/>
              <a:ext cx="390525" cy="450850"/>
            </a:xfrm>
            <a:custGeom>
              <a:avLst/>
              <a:gdLst>
                <a:gd name="T0" fmla="*/ 246 w 246"/>
                <a:gd name="T1" fmla="*/ 191 h 284"/>
                <a:gd name="T2" fmla="*/ 0 w 246"/>
                <a:gd name="T3" fmla="*/ 284 h 284"/>
                <a:gd name="T4" fmla="*/ 0 w 246"/>
                <a:gd name="T5" fmla="*/ 93 h 284"/>
                <a:gd name="T6" fmla="*/ 246 w 246"/>
                <a:gd name="T7" fmla="*/ 0 h 284"/>
                <a:gd name="T8" fmla="*/ 246 w 246"/>
                <a:gd name="T9" fmla="*/ 19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284">
                  <a:moveTo>
                    <a:pt x="246" y="191"/>
                  </a:moveTo>
                  <a:lnTo>
                    <a:pt x="0" y="284"/>
                  </a:lnTo>
                  <a:lnTo>
                    <a:pt x="0" y="93"/>
                  </a:lnTo>
                  <a:lnTo>
                    <a:pt x="246" y="0"/>
                  </a:lnTo>
                  <a:lnTo>
                    <a:pt x="246" y="191"/>
                  </a:ln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" name="Freeform 439">
              <a:extLst>
                <a:ext uri="{FF2B5EF4-FFF2-40B4-BE49-F238E27FC236}">
                  <a16:creationId xmlns:a16="http://schemas.microsoft.com/office/drawing/2014/main" id="{6E852949-DA86-424A-8FA2-113ABD0CC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026" y="5654675"/>
              <a:ext cx="290513" cy="450850"/>
            </a:xfrm>
            <a:custGeom>
              <a:avLst/>
              <a:gdLst>
                <a:gd name="T0" fmla="*/ 0 w 183"/>
                <a:gd name="T1" fmla="*/ 191 h 284"/>
                <a:gd name="T2" fmla="*/ 183 w 183"/>
                <a:gd name="T3" fmla="*/ 284 h 284"/>
                <a:gd name="T4" fmla="*/ 183 w 183"/>
                <a:gd name="T5" fmla="*/ 93 h 284"/>
                <a:gd name="T6" fmla="*/ 0 w 183"/>
                <a:gd name="T7" fmla="*/ 0 h 284"/>
                <a:gd name="T8" fmla="*/ 0 w 183"/>
                <a:gd name="T9" fmla="*/ 19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284">
                  <a:moveTo>
                    <a:pt x="0" y="191"/>
                  </a:moveTo>
                  <a:lnTo>
                    <a:pt x="183" y="284"/>
                  </a:lnTo>
                  <a:lnTo>
                    <a:pt x="183" y="93"/>
                  </a:lnTo>
                  <a:lnTo>
                    <a:pt x="0" y="0"/>
                  </a:lnTo>
                  <a:lnTo>
                    <a:pt x="0" y="191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440">
              <a:extLst>
                <a:ext uri="{FF2B5EF4-FFF2-40B4-BE49-F238E27FC236}">
                  <a16:creationId xmlns:a16="http://schemas.microsoft.com/office/drawing/2014/main" id="{94E543AD-72C3-41EB-9366-18920D3E7E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7326" y="5681663"/>
              <a:ext cx="147638" cy="71438"/>
            </a:xfrm>
            <a:custGeom>
              <a:avLst/>
              <a:gdLst>
                <a:gd name="T0" fmla="*/ 39 w 39"/>
                <a:gd name="T1" fmla="*/ 0 h 19"/>
                <a:gd name="T2" fmla="*/ 39 w 39"/>
                <a:gd name="T3" fmla="*/ 12 h 19"/>
                <a:gd name="T4" fmla="*/ 20 w 39"/>
                <a:gd name="T5" fmla="*/ 19 h 19"/>
                <a:gd name="T6" fmla="*/ 0 w 39"/>
                <a:gd name="T7" fmla="*/ 12 h 19"/>
                <a:gd name="T8" fmla="*/ 0 w 39"/>
                <a:gd name="T9" fmla="*/ 0 h 19"/>
                <a:gd name="T10" fmla="*/ 20 w 39"/>
                <a:gd name="T11" fmla="*/ 6 h 19"/>
                <a:gd name="T12" fmla="*/ 39 w 39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9">
                  <a:moveTo>
                    <a:pt x="39" y="0"/>
                  </a:moveTo>
                  <a:cubicBezTo>
                    <a:pt x="39" y="12"/>
                    <a:pt x="39" y="12"/>
                    <a:pt x="39" y="12"/>
                  </a:cubicBezTo>
                  <a:cubicBezTo>
                    <a:pt x="39" y="16"/>
                    <a:pt x="30" y="19"/>
                    <a:pt x="20" y="19"/>
                  </a:cubicBezTo>
                  <a:cubicBezTo>
                    <a:pt x="9" y="19"/>
                    <a:pt x="0" y="16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9" y="6"/>
                    <a:pt x="20" y="6"/>
                  </a:cubicBezTo>
                  <a:cubicBezTo>
                    <a:pt x="30" y="6"/>
                    <a:pt x="39" y="3"/>
                    <a:pt x="39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Oval 441">
              <a:extLst>
                <a:ext uri="{FF2B5EF4-FFF2-40B4-BE49-F238E27FC236}">
                  <a16:creationId xmlns:a16="http://schemas.microsoft.com/office/drawing/2014/main" id="{13D38C20-3A27-4AD7-8BF7-B786142E4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7326" y="5654675"/>
              <a:ext cx="147638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" name="Freeform 442">
              <a:extLst>
                <a:ext uri="{FF2B5EF4-FFF2-40B4-BE49-F238E27FC236}">
                  <a16:creationId xmlns:a16="http://schemas.microsoft.com/office/drawing/2014/main" id="{9AD04A53-1710-4EB6-9AB9-D044C34854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4451" y="5605463"/>
              <a:ext cx="142875" cy="76200"/>
            </a:xfrm>
            <a:custGeom>
              <a:avLst/>
              <a:gdLst>
                <a:gd name="T0" fmla="*/ 38 w 38"/>
                <a:gd name="T1" fmla="*/ 0 h 20"/>
                <a:gd name="T2" fmla="*/ 38 w 38"/>
                <a:gd name="T3" fmla="*/ 13 h 20"/>
                <a:gd name="T4" fmla="*/ 19 w 38"/>
                <a:gd name="T5" fmla="*/ 20 h 20"/>
                <a:gd name="T6" fmla="*/ 0 w 38"/>
                <a:gd name="T7" fmla="*/ 13 h 20"/>
                <a:gd name="T8" fmla="*/ 0 w 38"/>
                <a:gd name="T9" fmla="*/ 0 h 20"/>
                <a:gd name="T10" fmla="*/ 19 w 38"/>
                <a:gd name="T11" fmla="*/ 7 h 20"/>
                <a:gd name="T12" fmla="*/ 38 w 3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0">
                  <a:moveTo>
                    <a:pt x="38" y="0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7"/>
                    <a:pt x="30" y="20"/>
                    <a:pt x="19" y="20"/>
                  </a:cubicBezTo>
                  <a:cubicBezTo>
                    <a:pt x="9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9" y="7"/>
                    <a:pt x="19" y="7"/>
                  </a:cubicBezTo>
                  <a:cubicBezTo>
                    <a:pt x="30" y="7"/>
                    <a:pt x="38" y="4"/>
                    <a:pt x="38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Oval 443">
              <a:extLst>
                <a:ext uri="{FF2B5EF4-FFF2-40B4-BE49-F238E27FC236}">
                  <a16:creationId xmlns:a16="http://schemas.microsoft.com/office/drawing/2014/main" id="{9E16199A-699E-4B5E-B84A-52CA293C0C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4451" y="5583238"/>
              <a:ext cx="142875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5" name="Freeform 444">
              <a:extLst>
                <a:ext uri="{FF2B5EF4-FFF2-40B4-BE49-F238E27FC236}">
                  <a16:creationId xmlns:a16="http://schemas.microsoft.com/office/drawing/2014/main" id="{7D472713-64D7-41CA-A289-C9B712817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5534025"/>
              <a:ext cx="147638" cy="71438"/>
            </a:xfrm>
            <a:custGeom>
              <a:avLst/>
              <a:gdLst>
                <a:gd name="T0" fmla="*/ 39 w 39"/>
                <a:gd name="T1" fmla="*/ 0 h 19"/>
                <a:gd name="T2" fmla="*/ 39 w 39"/>
                <a:gd name="T3" fmla="*/ 13 h 19"/>
                <a:gd name="T4" fmla="*/ 19 w 39"/>
                <a:gd name="T5" fmla="*/ 19 h 19"/>
                <a:gd name="T6" fmla="*/ 0 w 39"/>
                <a:gd name="T7" fmla="*/ 13 h 19"/>
                <a:gd name="T8" fmla="*/ 0 w 39"/>
                <a:gd name="T9" fmla="*/ 0 h 19"/>
                <a:gd name="T10" fmla="*/ 19 w 39"/>
                <a:gd name="T11" fmla="*/ 7 h 19"/>
                <a:gd name="T12" fmla="*/ 39 w 39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9">
                  <a:moveTo>
                    <a:pt x="39" y="0"/>
                  </a:moveTo>
                  <a:cubicBezTo>
                    <a:pt x="39" y="13"/>
                    <a:pt x="39" y="13"/>
                    <a:pt x="39" y="13"/>
                  </a:cubicBezTo>
                  <a:cubicBezTo>
                    <a:pt x="39" y="17"/>
                    <a:pt x="30" y="19"/>
                    <a:pt x="19" y="19"/>
                  </a:cubicBezTo>
                  <a:cubicBezTo>
                    <a:pt x="9" y="19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9" y="7"/>
                    <a:pt x="19" y="7"/>
                  </a:cubicBezTo>
                  <a:cubicBezTo>
                    <a:pt x="30" y="7"/>
                    <a:pt x="39" y="4"/>
                    <a:pt x="39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Oval 445">
              <a:extLst>
                <a:ext uri="{FF2B5EF4-FFF2-40B4-BE49-F238E27FC236}">
                  <a16:creationId xmlns:a16="http://schemas.microsoft.com/office/drawing/2014/main" id="{15B75979-837A-4A22-BE57-A7B02A0FFC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6538" y="5511800"/>
              <a:ext cx="147638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7" name="Freeform 446">
              <a:extLst>
                <a:ext uri="{FF2B5EF4-FFF2-40B4-BE49-F238E27FC236}">
                  <a16:creationId xmlns:a16="http://schemas.microsoft.com/office/drawing/2014/main" id="{0AD5E430-A826-4820-B5B6-B238B283D2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4176" y="5605463"/>
              <a:ext cx="144463" cy="76200"/>
            </a:xfrm>
            <a:custGeom>
              <a:avLst/>
              <a:gdLst>
                <a:gd name="T0" fmla="*/ 38 w 38"/>
                <a:gd name="T1" fmla="*/ 0 h 20"/>
                <a:gd name="T2" fmla="*/ 38 w 38"/>
                <a:gd name="T3" fmla="*/ 13 h 20"/>
                <a:gd name="T4" fmla="*/ 19 w 38"/>
                <a:gd name="T5" fmla="*/ 20 h 20"/>
                <a:gd name="T6" fmla="*/ 0 w 38"/>
                <a:gd name="T7" fmla="*/ 13 h 20"/>
                <a:gd name="T8" fmla="*/ 0 w 38"/>
                <a:gd name="T9" fmla="*/ 0 h 20"/>
                <a:gd name="T10" fmla="*/ 19 w 38"/>
                <a:gd name="T11" fmla="*/ 7 h 20"/>
                <a:gd name="T12" fmla="*/ 38 w 3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0">
                  <a:moveTo>
                    <a:pt x="38" y="0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7"/>
                    <a:pt x="29" y="20"/>
                    <a:pt x="19" y="20"/>
                  </a:cubicBezTo>
                  <a:cubicBezTo>
                    <a:pt x="8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8" y="7"/>
                    <a:pt x="19" y="7"/>
                  </a:cubicBezTo>
                  <a:cubicBezTo>
                    <a:pt x="29" y="7"/>
                    <a:pt x="38" y="4"/>
                    <a:pt x="38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8" name="Oval 447">
              <a:extLst>
                <a:ext uri="{FF2B5EF4-FFF2-40B4-BE49-F238E27FC236}">
                  <a16:creationId xmlns:a16="http://schemas.microsoft.com/office/drawing/2014/main" id="{14F9E393-61F4-41FC-9654-337D5698A6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4176" y="5583238"/>
              <a:ext cx="144463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C81A39A6-2A1D-46DA-872A-BFF7104E18A4}"/>
              </a:ext>
            </a:extLst>
          </p:cNvPr>
          <p:cNvGrpSpPr/>
          <p:nvPr/>
        </p:nvGrpSpPr>
        <p:grpSpPr>
          <a:xfrm>
            <a:off x="7402840" y="5193619"/>
            <a:ext cx="314657" cy="296529"/>
            <a:chOff x="1169988" y="5418138"/>
            <a:chExt cx="771526" cy="727076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71" name="Freeform 456">
              <a:extLst>
                <a:ext uri="{FF2B5EF4-FFF2-40B4-BE49-F238E27FC236}">
                  <a16:creationId xmlns:a16="http://schemas.microsoft.com/office/drawing/2014/main" id="{8E5C5B5C-6AB0-4AAD-BB18-E14840F75E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988" y="6099176"/>
              <a:ext cx="771525" cy="46038"/>
            </a:xfrm>
            <a:custGeom>
              <a:avLst/>
              <a:gdLst>
                <a:gd name="T0" fmla="*/ 204 w 204"/>
                <a:gd name="T1" fmla="*/ 12 h 12"/>
                <a:gd name="T2" fmla="*/ 0 w 204"/>
                <a:gd name="T3" fmla="*/ 12 h 12"/>
                <a:gd name="T4" fmla="*/ 0 w 204"/>
                <a:gd name="T5" fmla="*/ 12 h 12"/>
                <a:gd name="T6" fmla="*/ 12 w 204"/>
                <a:gd name="T7" fmla="*/ 0 h 12"/>
                <a:gd name="T8" fmla="*/ 192 w 204"/>
                <a:gd name="T9" fmla="*/ 0 h 12"/>
                <a:gd name="T10" fmla="*/ 204 w 204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4" h="12">
                  <a:moveTo>
                    <a:pt x="204" y="12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99" y="0"/>
                    <a:pt x="204" y="5"/>
                    <a:pt x="204" y="12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2" name="Rectangle 457">
              <a:extLst>
                <a:ext uri="{FF2B5EF4-FFF2-40B4-BE49-F238E27FC236}">
                  <a16:creationId xmlns:a16="http://schemas.microsoft.com/office/drawing/2014/main" id="{E6F5ED6C-9CE1-4A24-BCC5-5F8CEABD66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6026" y="5661026"/>
              <a:ext cx="681038" cy="4381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3" name="Freeform 458">
              <a:extLst>
                <a:ext uri="{FF2B5EF4-FFF2-40B4-BE49-F238E27FC236}">
                  <a16:creationId xmlns:a16="http://schemas.microsoft.com/office/drawing/2014/main" id="{13F014E9-A572-41DC-8502-D17BDDDF2B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988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4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2" y="13"/>
                    <a:pt x="14" y="13"/>
                  </a:cubicBezTo>
                  <a:cubicBezTo>
                    <a:pt x="6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4" name="Freeform 459">
              <a:extLst>
                <a:ext uri="{FF2B5EF4-FFF2-40B4-BE49-F238E27FC236}">
                  <a16:creationId xmlns:a16="http://schemas.microsoft.com/office/drawing/2014/main" id="{AE7FF3AC-4FE1-45C4-A4A5-E644CC06E4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9526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4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3" y="13"/>
                    <a:pt x="14" y="13"/>
                  </a:cubicBezTo>
                  <a:cubicBezTo>
                    <a:pt x="6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5" name="Freeform 460">
              <a:extLst>
                <a:ext uri="{FF2B5EF4-FFF2-40B4-BE49-F238E27FC236}">
                  <a16:creationId xmlns:a16="http://schemas.microsoft.com/office/drawing/2014/main" id="{6B20B824-439B-40A9-A394-12930C5F7F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063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5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3" y="13"/>
                    <a:pt x="15" y="13"/>
                  </a:cubicBezTo>
                  <a:cubicBezTo>
                    <a:pt x="7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6" name="Freeform 461">
              <a:extLst>
                <a:ext uri="{FF2B5EF4-FFF2-40B4-BE49-F238E27FC236}">
                  <a16:creationId xmlns:a16="http://schemas.microsoft.com/office/drawing/2014/main" id="{F66B28CF-70F6-48DC-A7EC-22162E00E6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8601" y="5661026"/>
              <a:ext cx="114300" cy="49213"/>
            </a:xfrm>
            <a:custGeom>
              <a:avLst/>
              <a:gdLst>
                <a:gd name="T0" fmla="*/ 30 w 30"/>
                <a:gd name="T1" fmla="*/ 0 h 13"/>
                <a:gd name="T2" fmla="*/ 15 w 30"/>
                <a:gd name="T3" fmla="*/ 13 h 13"/>
                <a:gd name="T4" fmla="*/ 0 w 30"/>
                <a:gd name="T5" fmla="*/ 0 h 13"/>
                <a:gd name="T6" fmla="*/ 30 w 30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3">
                  <a:moveTo>
                    <a:pt x="30" y="0"/>
                  </a:moveTo>
                  <a:cubicBezTo>
                    <a:pt x="30" y="7"/>
                    <a:pt x="23" y="13"/>
                    <a:pt x="15" y="13"/>
                  </a:cubicBezTo>
                  <a:cubicBezTo>
                    <a:pt x="7" y="13"/>
                    <a:pt x="0" y="7"/>
                    <a:pt x="0" y="0"/>
                  </a:cubicBezTo>
                  <a:lnTo>
                    <a:pt x="30" y="0"/>
                  </a:ln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7" name="Freeform 462">
              <a:extLst>
                <a:ext uri="{FF2B5EF4-FFF2-40B4-BE49-F238E27FC236}">
                  <a16:creationId xmlns:a16="http://schemas.microsoft.com/office/drawing/2014/main" id="{6AAD7025-547A-45E0-B5E3-DD3FF34854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2438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5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3" y="13"/>
                    <a:pt x="15" y="13"/>
                  </a:cubicBezTo>
                  <a:cubicBezTo>
                    <a:pt x="6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8" name="Freeform 463">
              <a:extLst>
                <a:ext uri="{FF2B5EF4-FFF2-40B4-BE49-F238E27FC236}">
                  <a16:creationId xmlns:a16="http://schemas.microsoft.com/office/drawing/2014/main" id="{D9E4EB3F-40F8-41E6-BE3D-4D0DA6E215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2901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4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2" y="13"/>
                    <a:pt x="14" y="13"/>
                  </a:cubicBezTo>
                  <a:cubicBezTo>
                    <a:pt x="6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9" name="Freeform 464">
              <a:extLst>
                <a:ext uri="{FF2B5EF4-FFF2-40B4-BE49-F238E27FC236}">
                  <a16:creationId xmlns:a16="http://schemas.microsoft.com/office/drawing/2014/main" id="{CD673867-7EB2-4F61-B276-66C6891699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1976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5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3" y="13"/>
                    <a:pt x="15" y="13"/>
                  </a:cubicBezTo>
                  <a:cubicBezTo>
                    <a:pt x="7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0" name="Freeform 465">
              <a:extLst>
                <a:ext uri="{FF2B5EF4-FFF2-40B4-BE49-F238E27FC236}">
                  <a16:creationId xmlns:a16="http://schemas.microsoft.com/office/drawing/2014/main" id="{CB1E454A-D500-44AB-A889-9FFDF3791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988" y="5418138"/>
              <a:ext cx="204788" cy="242888"/>
            </a:xfrm>
            <a:custGeom>
              <a:avLst/>
              <a:gdLst>
                <a:gd name="T0" fmla="*/ 0 w 129"/>
                <a:gd name="T1" fmla="*/ 153 h 153"/>
                <a:gd name="T2" fmla="*/ 69 w 129"/>
                <a:gd name="T3" fmla="*/ 153 h 153"/>
                <a:gd name="T4" fmla="*/ 129 w 129"/>
                <a:gd name="T5" fmla="*/ 0 h 153"/>
                <a:gd name="T6" fmla="*/ 69 w 129"/>
                <a:gd name="T7" fmla="*/ 0 h 153"/>
                <a:gd name="T8" fmla="*/ 0 w 129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53">
                  <a:moveTo>
                    <a:pt x="0" y="153"/>
                  </a:moveTo>
                  <a:lnTo>
                    <a:pt x="69" y="153"/>
                  </a:lnTo>
                  <a:lnTo>
                    <a:pt x="129" y="0"/>
                  </a:lnTo>
                  <a:lnTo>
                    <a:pt x="69" y="0"/>
                  </a:lnTo>
                  <a:lnTo>
                    <a:pt x="0" y="153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1" name="Freeform 466">
              <a:extLst>
                <a:ext uri="{FF2B5EF4-FFF2-40B4-BE49-F238E27FC236}">
                  <a16:creationId xmlns:a16="http://schemas.microsoft.com/office/drawing/2014/main" id="{0A3991F8-FBEC-4CA9-A150-0D6BC4C462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9526" y="5418138"/>
              <a:ext cx="177800" cy="242888"/>
            </a:xfrm>
            <a:custGeom>
              <a:avLst/>
              <a:gdLst>
                <a:gd name="T0" fmla="*/ 0 w 112"/>
                <a:gd name="T1" fmla="*/ 153 h 153"/>
                <a:gd name="T2" fmla="*/ 69 w 112"/>
                <a:gd name="T3" fmla="*/ 153 h 153"/>
                <a:gd name="T4" fmla="*/ 112 w 112"/>
                <a:gd name="T5" fmla="*/ 0 h 153"/>
                <a:gd name="T6" fmla="*/ 60 w 112"/>
                <a:gd name="T7" fmla="*/ 0 h 153"/>
                <a:gd name="T8" fmla="*/ 0 w 112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" h="153">
                  <a:moveTo>
                    <a:pt x="0" y="153"/>
                  </a:moveTo>
                  <a:lnTo>
                    <a:pt x="69" y="153"/>
                  </a:lnTo>
                  <a:lnTo>
                    <a:pt x="112" y="0"/>
                  </a:lnTo>
                  <a:lnTo>
                    <a:pt x="60" y="0"/>
                  </a:lnTo>
                  <a:lnTo>
                    <a:pt x="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2" name="Freeform 467">
              <a:extLst>
                <a:ext uri="{FF2B5EF4-FFF2-40B4-BE49-F238E27FC236}">
                  <a16:creationId xmlns:a16="http://schemas.microsoft.com/office/drawing/2014/main" id="{BB93F745-7B7D-4B8B-8179-E4A6027AC4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063" y="5418138"/>
              <a:ext cx="152400" cy="242888"/>
            </a:xfrm>
            <a:custGeom>
              <a:avLst/>
              <a:gdLst>
                <a:gd name="T0" fmla="*/ 0 w 96"/>
                <a:gd name="T1" fmla="*/ 153 h 153"/>
                <a:gd name="T2" fmla="*/ 69 w 96"/>
                <a:gd name="T3" fmla="*/ 153 h 153"/>
                <a:gd name="T4" fmla="*/ 96 w 96"/>
                <a:gd name="T5" fmla="*/ 0 h 153"/>
                <a:gd name="T6" fmla="*/ 43 w 96"/>
                <a:gd name="T7" fmla="*/ 0 h 153"/>
                <a:gd name="T8" fmla="*/ 0 w 96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153">
                  <a:moveTo>
                    <a:pt x="0" y="153"/>
                  </a:moveTo>
                  <a:lnTo>
                    <a:pt x="69" y="153"/>
                  </a:lnTo>
                  <a:lnTo>
                    <a:pt x="96" y="0"/>
                  </a:lnTo>
                  <a:lnTo>
                    <a:pt x="43" y="0"/>
                  </a:lnTo>
                  <a:lnTo>
                    <a:pt x="0" y="153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3" name="Freeform 468">
              <a:extLst>
                <a:ext uri="{FF2B5EF4-FFF2-40B4-BE49-F238E27FC236}">
                  <a16:creationId xmlns:a16="http://schemas.microsoft.com/office/drawing/2014/main" id="{18CA3599-BA5D-4726-A23E-1B472B9AA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8601" y="5418138"/>
              <a:ext cx="114300" cy="242888"/>
            </a:xfrm>
            <a:custGeom>
              <a:avLst/>
              <a:gdLst>
                <a:gd name="T0" fmla="*/ 0 w 72"/>
                <a:gd name="T1" fmla="*/ 153 h 153"/>
                <a:gd name="T2" fmla="*/ 72 w 72"/>
                <a:gd name="T3" fmla="*/ 153 h 153"/>
                <a:gd name="T4" fmla="*/ 72 w 72"/>
                <a:gd name="T5" fmla="*/ 0 h 153"/>
                <a:gd name="T6" fmla="*/ 27 w 72"/>
                <a:gd name="T7" fmla="*/ 0 h 153"/>
                <a:gd name="T8" fmla="*/ 0 w 72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153">
                  <a:moveTo>
                    <a:pt x="0" y="153"/>
                  </a:moveTo>
                  <a:lnTo>
                    <a:pt x="72" y="153"/>
                  </a:lnTo>
                  <a:lnTo>
                    <a:pt x="72" y="0"/>
                  </a:lnTo>
                  <a:lnTo>
                    <a:pt x="27" y="0"/>
                  </a:lnTo>
                  <a:lnTo>
                    <a:pt x="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4" name="Freeform 469">
              <a:extLst>
                <a:ext uri="{FF2B5EF4-FFF2-40B4-BE49-F238E27FC236}">
                  <a16:creationId xmlns:a16="http://schemas.microsoft.com/office/drawing/2014/main" id="{48A02056-32CE-4D99-A066-8C080752E8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713" y="5418138"/>
              <a:ext cx="177800" cy="242888"/>
            </a:xfrm>
            <a:custGeom>
              <a:avLst/>
              <a:gdLst>
                <a:gd name="T0" fmla="*/ 112 w 112"/>
                <a:gd name="T1" fmla="*/ 153 h 153"/>
                <a:gd name="T2" fmla="*/ 43 w 112"/>
                <a:gd name="T3" fmla="*/ 153 h 153"/>
                <a:gd name="T4" fmla="*/ 0 w 112"/>
                <a:gd name="T5" fmla="*/ 0 h 153"/>
                <a:gd name="T6" fmla="*/ 53 w 112"/>
                <a:gd name="T7" fmla="*/ 0 h 153"/>
                <a:gd name="T8" fmla="*/ 112 w 112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" h="153">
                  <a:moveTo>
                    <a:pt x="112" y="153"/>
                  </a:moveTo>
                  <a:lnTo>
                    <a:pt x="43" y="153"/>
                  </a:lnTo>
                  <a:lnTo>
                    <a:pt x="0" y="0"/>
                  </a:lnTo>
                  <a:lnTo>
                    <a:pt x="53" y="0"/>
                  </a:lnTo>
                  <a:lnTo>
                    <a:pt x="112" y="153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5" name="Freeform 470">
              <a:extLst>
                <a:ext uri="{FF2B5EF4-FFF2-40B4-BE49-F238E27FC236}">
                  <a16:creationId xmlns:a16="http://schemas.microsoft.com/office/drawing/2014/main" id="{5A78025A-0AB6-4F5D-B674-727D29FE55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163" y="5418138"/>
              <a:ext cx="150813" cy="242888"/>
            </a:xfrm>
            <a:custGeom>
              <a:avLst/>
              <a:gdLst>
                <a:gd name="T0" fmla="*/ 95 w 95"/>
                <a:gd name="T1" fmla="*/ 153 h 153"/>
                <a:gd name="T2" fmla="*/ 26 w 95"/>
                <a:gd name="T3" fmla="*/ 153 h 153"/>
                <a:gd name="T4" fmla="*/ 0 w 95"/>
                <a:gd name="T5" fmla="*/ 0 h 153"/>
                <a:gd name="T6" fmla="*/ 52 w 95"/>
                <a:gd name="T7" fmla="*/ 0 h 153"/>
                <a:gd name="T8" fmla="*/ 95 w 95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153">
                  <a:moveTo>
                    <a:pt x="95" y="153"/>
                  </a:moveTo>
                  <a:lnTo>
                    <a:pt x="26" y="153"/>
                  </a:lnTo>
                  <a:lnTo>
                    <a:pt x="0" y="0"/>
                  </a:lnTo>
                  <a:lnTo>
                    <a:pt x="52" y="0"/>
                  </a:lnTo>
                  <a:lnTo>
                    <a:pt x="95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6" name="Freeform 471">
              <a:extLst>
                <a:ext uri="{FF2B5EF4-FFF2-40B4-BE49-F238E27FC236}">
                  <a16:creationId xmlns:a16="http://schemas.microsoft.com/office/drawing/2014/main" id="{7EBD29E3-E152-4B1A-B997-02303C4AE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2901" y="5418138"/>
              <a:ext cx="109538" cy="242888"/>
            </a:xfrm>
            <a:custGeom>
              <a:avLst/>
              <a:gdLst>
                <a:gd name="T0" fmla="*/ 69 w 69"/>
                <a:gd name="T1" fmla="*/ 153 h 153"/>
                <a:gd name="T2" fmla="*/ 0 w 69"/>
                <a:gd name="T3" fmla="*/ 153 h 153"/>
                <a:gd name="T4" fmla="*/ 0 w 69"/>
                <a:gd name="T5" fmla="*/ 0 h 153"/>
                <a:gd name="T6" fmla="*/ 43 w 69"/>
                <a:gd name="T7" fmla="*/ 0 h 153"/>
                <a:gd name="T8" fmla="*/ 69 w 69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153">
                  <a:moveTo>
                    <a:pt x="69" y="153"/>
                  </a:moveTo>
                  <a:lnTo>
                    <a:pt x="0" y="153"/>
                  </a:lnTo>
                  <a:lnTo>
                    <a:pt x="0" y="0"/>
                  </a:lnTo>
                  <a:lnTo>
                    <a:pt x="43" y="0"/>
                  </a:lnTo>
                  <a:lnTo>
                    <a:pt x="69" y="153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7" name="Rectangle 472">
              <a:extLst>
                <a:ext uri="{FF2B5EF4-FFF2-40B4-BE49-F238E27FC236}">
                  <a16:creationId xmlns:a16="http://schemas.microsoft.com/office/drawing/2014/main" id="{41A69937-AACC-4AB2-B48C-935BE7647B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65238" y="5759451"/>
              <a:ext cx="339725" cy="192088"/>
            </a:xfrm>
            <a:prstGeom prst="rect">
              <a:avLst/>
            </a:pr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8" name="Freeform 473">
              <a:extLst>
                <a:ext uri="{FF2B5EF4-FFF2-40B4-BE49-F238E27FC236}">
                  <a16:creationId xmlns:a16="http://schemas.microsoft.com/office/drawing/2014/main" id="{08EAD96A-4E5A-4E66-BBFB-CFA5D2ED95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5238" y="5759451"/>
              <a:ext cx="339725" cy="192088"/>
            </a:xfrm>
            <a:custGeom>
              <a:avLst/>
              <a:gdLst>
                <a:gd name="T0" fmla="*/ 214 w 214"/>
                <a:gd name="T1" fmla="*/ 121 h 121"/>
                <a:gd name="T2" fmla="*/ 0 w 214"/>
                <a:gd name="T3" fmla="*/ 121 h 121"/>
                <a:gd name="T4" fmla="*/ 214 w 214"/>
                <a:gd name="T5" fmla="*/ 0 h 121"/>
                <a:gd name="T6" fmla="*/ 214 w 214"/>
                <a:gd name="T7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4" h="121">
                  <a:moveTo>
                    <a:pt x="214" y="121"/>
                  </a:moveTo>
                  <a:lnTo>
                    <a:pt x="0" y="121"/>
                  </a:lnTo>
                  <a:lnTo>
                    <a:pt x="214" y="0"/>
                  </a:lnTo>
                  <a:lnTo>
                    <a:pt x="214" y="121"/>
                  </a:lnTo>
                  <a:close/>
                </a:path>
              </a:pathLst>
            </a:cu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9" name="Rectangle 474">
              <a:extLst>
                <a:ext uri="{FF2B5EF4-FFF2-40B4-BE49-F238E27FC236}">
                  <a16:creationId xmlns:a16="http://schemas.microsoft.com/office/drawing/2014/main" id="{79D3162C-3840-4C08-ACA6-66AB6F312F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6401" y="5759451"/>
              <a:ext cx="171450" cy="158750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0" name="Rectangle 475">
              <a:extLst>
                <a:ext uri="{FF2B5EF4-FFF2-40B4-BE49-F238E27FC236}">
                  <a16:creationId xmlns:a16="http://schemas.microsoft.com/office/drawing/2014/main" id="{DB0DB21F-F201-4D8F-B688-576F564AA3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6401" y="5951538"/>
              <a:ext cx="171450" cy="147638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1" name="Freeform 476">
              <a:extLst>
                <a:ext uri="{FF2B5EF4-FFF2-40B4-BE49-F238E27FC236}">
                  <a16:creationId xmlns:a16="http://schemas.microsoft.com/office/drawing/2014/main" id="{7E60C3EF-FE96-4471-BA33-4AB0B2DA7E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4913" y="5926138"/>
              <a:ext cx="388938" cy="85725"/>
            </a:xfrm>
            <a:custGeom>
              <a:avLst/>
              <a:gdLst>
                <a:gd name="T0" fmla="*/ 103 w 103"/>
                <a:gd name="T1" fmla="*/ 23 h 23"/>
                <a:gd name="T2" fmla="*/ 79 w 103"/>
                <a:gd name="T3" fmla="*/ 5 h 23"/>
                <a:gd name="T4" fmla="*/ 60 w 103"/>
                <a:gd name="T5" fmla="*/ 11 h 23"/>
                <a:gd name="T6" fmla="*/ 51 w 103"/>
                <a:gd name="T7" fmla="*/ 5 h 23"/>
                <a:gd name="T8" fmla="*/ 43 w 103"/>
                <a:gd name="T9" fmla="*/ 11 h 23"/>
                <a:gd name="T10" fmla="*/ 28 w 103"/>
                <a:gd name="T11" fmla="*/ 0 h 23"/>
                <a:gd name="T12" fmla="*/ 12 w 103"/>
                <a:gd name="T13" fmla="*/ 14 h 23"/>
                <a:gd name="T14" fmla="*/ 8 w 103"/>
                <a:gd name="T15" fmla="*/ 12 h 23"/>
                <a:gd name="T16" fmla="*/ 0 w 103"/>
                <a:gd name="T17" fmla="*/ 23 h 23"/>
                <a:gd name="T18" fmla="*/ 103 w 103"/>
                <a:gd name="T1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23">
                  <a:moveTo>
                    <a:pt x="103" y="23"/>
                  </a:moveTo>
                  <a:cubicBezTo>
                    <a:pt x="103" y="13"/>
                    <a:pt x="92" y="5"/>
                    <a:pt x="79" y="5"/>
                  </a:cubicBezTo>
                  <a:cubicBezTo>
                    <a:pt x="71" y="5"/>
                    <a:pt x="65" y="8"/>
                    <a:pt x="60" y="11"/>
                  </a:cubicBezTo>
                  <a:cubicBezTo>
                    <a:pt x="58" y="8"/>
                    <a:pt x="55" y="5"/>
                    <a:pt x="51" y="5"/>
                  </a:cubicBezTo>
                  <a:cubicBezTo>
                    <a:pt x="48" y="5"/>
                    <a:pt x="45" y="7"/>
                    <a:pt x="43" y="11"/>
                  </a:cubicBezTo>
                  <a:cubicBezTo>
                    <a:pt x="40" y="5"/>
                    <a:pt x="34" y="0"/>
                    <a:pt x="28" y="0"/>
                  </a:cubicBezTo>
                  <a:cubicBezTo>
                    <a:pt x="20" y="0"/>
                    <a:pt x="13" y="6"/>
                    <a:pt x="12" y="14"/>
                  </a:cubicBezTo>
                  <a:cubicBezTo>
                    <a:pt x="10" y="13"/>
                    <a:pt x="9" y="12"/>
                    <a:pt x="8" y="12"/>
                  </a:cubicBezTo>
                  <a:cubicBezTo>
                    <a:pt x="3" y="12"/>
                    <a:pt x="0" y="17"/>
                    <a:pt x="0" y="23"/>
                  </a:cubicBezTo>
                  <a:lnTo>
                    <a:pt x="103" y="23"/>
                  </a:lnTo>
                  <a:close/>
                </a:path>
              </a:pathLst>
            </a:custGeom>
            <a:solidFill>
              <a:srgbClr val="0D96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2" name="Rectangle 477">
              <a:extLst>
                <a:ext uri="{FF2B5EF4-FFF2-40B4-BE49-F238E27FC236}">
                  <a16:creationId xmlns:a16="http://schemas.microsoft.com/office/drawing/2014/main" id="{5384473D-6D85-46D3-8AB2-89A3A789F8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4913" y="6011863"/>
              <a:ext cx="388938" cy="87313"/>
            </a:xfrm>
            <a:prstGeom prst="rect">
              <a:avLst/>
            </a:pr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3" name="Rectangle 478">
              <a:extLst>
                <a:ext uri="{FF2B5EF4-FFF2-40B4-BE49-F238E27FC236}">
                  <a16:creationId xmlns:a16="http://schemas.microsoft.com/office/drawing/2014/main" id="{B0A552A8-E2B0-472D-836D-E9CEE0FFEC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4913" y="6011863"/>
              <a:ext cx="388938" cy="26988"/>
            </a:xfrm>
            <a:prstGeom prst="rect">
              <a:avLst/>
            </a:prstGeom>
            <a:solidFill>
              <a:srgbClr val="AF76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94" name="Slide Number Placeholder 93">
            <a:extLst>
              <a:ext uri="{FF2B5EF4-FFF2-40B4-BE49-F238E27FC236}">
                <a16:creationId xmlns:a16="http://schemas.microsoft.com/office/drawing/2014/main" id="{ECB8D3FA-85B0-4687-9A60-D54F9B1AF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3" name="Picture 2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557F4DFB-AA8B-7208-D423-0DF2800BE0B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6841" y="-532535"/>
            <a:ext cx="1806735" cy="1806735"/>
          </a:xfrm>
          <a:prstGeom prst="rect">
            <a:avLst/>
          </a:prstGeom>
        </p:spPr>
      </p:pic>
      <p:pic>
        <p:nvPicPr>
          <p:cNvPr id="6" name="Picture 5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4C98512E-B76C-AAC0-813D-EBAF42C0CD1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1657" y="691085"/>
            <a:ext cx="5221765" cy="5221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4508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rastructure As Code (</a:t>
            </a:r>
            <a:r>
              <a:rPr lang="en-US" dirty="0" err="1"/>
              <a:t>IaC</a:t>
            </a:r>
            <a:r>
              <a:rPr lang="en-US" dirty="0"/>
              <a:t>) via Pipelin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Takes proven coding practices to continuously deliver infrastructure, and software running on it rapidly and at scale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0AAB136-8414-6A21-03A5-A9548743C734}"/>
              </a:ext>
            </a:extLst>
          </p:cNvPr>
          <p:cNvSpPr txBox="1">
            <a:spLocks/>
          </p:cNvSpPr>
          <p:nvPr/>
        </p:nvSpPr>
        <p:spPr>
          <a:xfrm>
            <a:off x="1107687" y="4644482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Pros</a:t>
            </a:r>
          </a:p>
          <a:p>
            <a:pPr>
              <a:buFontTx/>
              <a:buChar char="-"/>
            </a:pPr>
            <a:endParaRPr lang="en-US" sz="2000" dirty="0"/>
          </a:p>
          <a:p>
            <a:pPr>
              <a:buFontTx/>
              <a:buChar char="-"/>
            </a:pPr>
            <a:r>
              <a:rPr lang="en-US" sz="2000" dirty="0"/>
              <a:t>Triggerable from other systems (UX)</a:t>
            </a:r>
          </a:p>
          <a:p>
            <a:pPr>
              <a:buFontTx/>
              <a:buChar char="-"/>
            </a:pPr>
            <a:endParaRPr lang="en-US" sz="2000" dirty="0"/>
          </a:p>
          <a:p>
            <a:pPr>
              <a:buFontTx/>
              <a:buChar char="-"/>
            </a:pPr>
            <a:endParaRPr lang="en-US" sz="200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EAB7573-B6B5-D04C-1A8F-E527D8F51F82}"/>
              </a:ext>
            </a:extLst>
          </p:cNvPr>
          <p:cNvSpPr txBox="1">
            <a:spLocks/>
          </p:cNvSpPr>
          <p:nvPr/>
        </p:nvSpPr>
        <p:spPr>
          <a:xfrm>
            <a:off x="8184243" y="4646341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Cons</a:t>
            </a:r>
          </a:p>
          <a:p>
            <a:pPr>
              <a:buFontTx/>
              <a:buChar char="-"/>
            </a:pPr>
            <a:r>
              <a:rPr lang="en-US" sz="2000" dirty="0"/>
              <a:t>Sub-optimal UX</a:t>
            </a:r>
          </a:p>
          <a:p>
            <a:pPr>
              <a:buFontTx/>
              <a:buChar char="-"/>
            </a:pPr>
            <a:r>
              <a:rPr lang="en-US" sz="2000" dirty="0"/>
              <a:t>Input errors</a:t>
            </a:r>
          </a:p>
          <a:p>
            <a:pPr>
              <a:buFontTx/>
              <a:buChar char="-"/>
            </a:pPr>
            <a:r>
              <a:rPr lang="en-US" sz="2000" dirty="0"/>
              <a:t>No change history</a:t>
            </a:r>
          </a:p>
          <a:p>
            <a:pPr>
              <a:buFontTx/>
              <a:buChar char="-"/>
            </a:pPr>
            <a:r>
              <a:rPr lang="en-US" sz="2000" dirty="0"/>
              <a:t>Single deployment identity masks the actor in azu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37035" y="2648860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2400" y="2447123"/>
            <a:ext cx="1963754" cy="196375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1F45828B-8F5C-FF73-3C4B-A998B8DAC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5965" y="2364959"/>
            <a:ext cx="1064041" cy="1064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037AAB4F-B00B-7F7E-8EB1-FE647FD652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619" y="2368998"/>
            <a:ext cx="809625" cy="933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3478140-8BE6-5525-DF07-9358650A627B}"/>
              </a:ext>
            </a:extLst>
          </p:cNvPr>
          <p:cNvSpPr/>
          <p:nvPr/>
        </p:nvSpPr>
        <p:spPr>
          <a:xfrm>
            <a:off x="4360333" y="2172900"/>
            <a:ext cx="3398039" cy="4439567"/>
          </a:xfrm>
          <a:custGeom>
            <a:avLst/>
            <a:gdLst>
              <a:gd name="connsiteX0" fmla="*/ 0 w 3398039"/>
              <a:gd name="connsiteY0" fmla="*/ 566351 h 4439567"/>
              <a:gd name="connsiteX1" fmla="*/ 566351 w 3398039"/>
              <a:gd name="connsiteY1" fmla="*/ 0 h 4439567"/>
              <a:gd name="connsiteX2" fmla="*/ 1177992 w 3398039"/>
              <a:gd name="connsiteY2" fmla="*/ 0 h 4439567"/>
              <a:gd name="connsiteX3" fmla="*/ 1721673 w 3398039"/>
              <a:gd name="connsiteY3" fmla="*/ 0 h 4439567"/>
              <a:gd name="connsiteX4" fmla="*/ 2242700 w 3398039"/>
              <a:gd name="connsiteY4" fmla="*/ 0 h 4439567"/>
              <a:gd name="connsiteX5" fmla="*/ 2831688 w 3398039"/>
              <a:gd name="connsiteY5" fmla="*/ 0 h 4439567"/>
              <a:gd name="connsiteX6" fmla="*/ 3398039 w 3398039"/>
              <a:gd name="connsiteY6" fmla="*/ 566351 h 4439567"/>
              <a:gd name="connsiteX7" fmla="*/ 3398039 w 3398039"/>
              <a:gd name="connsiteY7" fmla="*/ 1117495 h 4439567"/>
              <a:gd name="connsiteX8" fmla="*/ 3398039 w 3398039"/>
              <a:gd name="connsiteY8" fmla="*/ 1734777 h 4439567"/>
              <a:gd name="connsiteX9" fmla="*/ 3398039 w 3398039"/>
              <a:gd name="connsiteY9" fmla="*/ 2186715 h 4439567"/>
              <a:gd name="connsiteX10" fmla="*/ 3398039 w 3398039"/>
              <a:gd name="connsiteY10" fmla="*/ 2737859 h 4439567"/>
              <a:gd name="connsiteX11" fmla="*/ 3398039 w 3398039"/>
              <a:gd name="connsiteY11" fmla="*/ 3289003 h 4439567"/>
              <a:gd name="connsiteX12" fmla="*/ 3398039 w 3398039"/>
              <a:gd name="connsiteY12" fmla="*/ 3873216 h 4439567"/>
              <a:gd name="connsiteX13" fmla="*/ 2831688 w 3398039"/>
              <a:gd name="connsiteY13" fmla="*/ 4439567 h 4439567"/>
              <a:gd name="connsiteX14" fmla="*/ 2265354 w 3398039"/>
              <a:gd name="connsiteY14" fmla="*/ 4439567 h 4439567"/>
              <a:gd name="connsiteX15" fmla="*/ 1699020 w 3398039"/>
              <a:gd name="connsiteY15" fmla="*/ 4439567 h 4439567"/>
              <a:gd name="connsiteX16" fmla="*/ 1087379 w 3398039"/>
              <a:gd name="connsiteY16" fmla="*/ 4439567 h 4439567"/>
              <a:gd name="connsiteX17" fmla="*/ 566351 w 3398039"/>
              <a:gd name="connsiteY17" fmla="*/ 4439567 h 4439567"/>
              <a:gd name="connsiteX18" fmla="*/ 0 w 3398039"/>
              <a:gd name="connsiteY18" fmla="*/ 3873216 h 4439567"/>
              <a:gd name="connsiteX19" fmla="*/ 0 w 3398039"/>
              <a:gd name="connsiteY19" fmla="*/ 3388209 h 4439567"/>
              <a:gd name="connsiteX20" fmla="*/ 0 w 3398039"/>
              <a:gd name="connsiteY20" fmla="*/ 2837065 h 4439567"/>
              <a:gd name="connsiteX21" fmla="*/ 0 w 3398039"/>
              <a:gd name="connsiteY21" fmla="*/ 2352058 h 4439567"/>
              <a:gd name="connsiteX22" fmla="*/ 0 w 3398039"/>
              <a:gd name="connsiteY22" fmla="*/ 1800914 h 4439567"/>
              <a:gd name="connsiteX23" fmla="*/ 0 w 3398039"/>
              <a:gd name="connsiteY23" fmla="*/ 1348976 h 4439567"/>
              <a:gd name="connsiteX24" fmla="*/ 0 w 3398039"/>
              <a:gd name="connsiteY24" fmla="*/ 566351 h 4439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398039" h="4439567" extrusionOk="0">
                <a:moveTo>
                  <a:pt x="0" y="566351"/>
                </a:moveTo>
                <a:cubicBezTo>
                  <a:pt x="-76067" y="206644"/>
                  <a:pt x="231372" y="8329"/>
                  <a:pt x="566351" y="0"/>
                </a:cubicBezTo>
                <a:cubicBezTo>
                  <a:pt x="833844" y="-49535"/>
                  <a:pt x="953828" y="12370"/>
                  <a:pt x="1177992" y="0"/>
                </a:cubicBezTo>
                <a:cubicBezTo>
                  <a:pt x="1402156" y="-12370"/>
                  <a:pt x="1536539" y="227"/>
                  <a:pt x="1721673" y="0"/>
                </a:cubicBezTo>
                <a:cubicBezTo>
                  <a:pt x="1906807" y="-227"/>
                  <a:pt x="2042981" y="58393"/>
                  <a:pt x="2242700" y="0"/>
                </a:cubicBezTo>
                <a:cubicBezTo>
                  <a:pt x="2442419" y="-58393"/>
                  <a:pt x="2646582" y="42609"/>
                  <a:pt x="2831688" y="0"/>
                </a:cubicBezTo>
                <a:cubicBezTo>
                  <a:pt x="3168158" y="-48740"/>
                  <a:pt x="3377527" y="250423"/>
                  <a:pt x="3398039" y="566351"/>
                </a:cubicBezTo>
                <a:cubicBezTo>
                  <a:pt x="3401742" y="790470"/>
                  <a:pt x="3337830" y="917709"/>
                  <a:pt x="3398039" y="1117495"/>
                </a:cubicBezTo>
                <a:cubicBezTo>
                  <a:pt x="3458248" y="1317281"/>
                  <a:pt x="3340064" y="1594357"/>
                  <a:pt x="3398039" y="1734777"/>
                </a:cubicBezTo>
                <a:cubicBezTo>
                  <a:pt x="3456014" y="1875197"/>
                  <a:pt x="3350133" y="1977297"/>
                  <a:pt x="3398039" y="2186715"/>
                </a:cubicBezTo>
                <a:cubicBezTo>
                  <a:pt x="3445945" y="2396133"/>
                  <a:pt x="3394383" y="2582143"/>
                  <a:pt x="3398039" y="2737859"/>
                </a:cubicBezTo>
                <a:cubicBezTo>
                  <a:pt x="3401695" y="2893575"/>
                  <a:pt x="3351725" y="3036007"/>
                  <a:pt x="3398039" y="3289003"/>
                </a:cubicBezTo>
                <a:cubicBezTo>
                  <a:pt x="3444353" y="3541999"/>
                  <a:pt x="3345411" y="3709151"/>
                  <a:pt x="3398039" y="3873216"/>
                </a:cubicBezTo>
                <a:cubicBezTo>
                  <a:pt x="3406096" y="4195872"/>
                  <a:pt x="3153123" y="4431996"/>
                  <a:pt x="2831688" y="4439567"/>
                </a:cubicBezTo>
                <a:cubicBezTo>
                  <a:pt x="2637195" y="4458346"/>
                  <a:pt x="2413494" y="4425147"/>
                  <a:pt x="2265354" y="4439567"/>
                </a:cubicBezTo>
                <a:cubicBezTo>
                  <a:pt x="2117214" y="4453987"/>
                  <a:pt x="1847594" y="4380829"/>
                  <a:pt x="1699020" y="4439567"/>
                </a:cubicBezTo>
                <a:cubicBezTo>
                  <a:pt x="1550446" y="4498305"/>
                  <a:pt x="1286219" y="4413214"/>
                  <a:pt x="1087379" y="4439567"/>
                </a:cubicBezTo>
                <a:cubicBezTo>
                  <a:pt x="888539" y="4465920"/>
                  <a:pt x="811548" y="4381863"/>
                  <a:pt x="566351" y="4439567"/>
                </a:cubicBezTo>
                <a:cubicBezTo>
                  <a:pt x="224116" y="4492221"/>
                  <a:pt x="24832" y="4204455"/>
                  <a:pt x="0" y="3873216"/>
                </a:cubicBezTo>
                <a:cubicBezTo>
                  <a:pt x="-39502" y="3705931"/>
                  <a:pt x="51549" y="3570122"/>
                  <a:pt x="0" y="3388209"/>
                </a:cubicBezTo>
                <a:cubicBezTo>
                  <a:pt x="-51549" y="3206296"/>
                  <a:pt x="29796" y="2983906"/>
                  <a:pt x="0" y="2837065"/>
                </a:cubicBezTo>
                <a:cubicBezTo>
                  <a:pt x="-29796" y="2690224"/>
                  <a:pt x="49643" y="2488496"/>
                  <a:pt x="0" y="2352058"/>
                </a:cubicBezTo>
                <a:cubicBezTo>
                  <a:pt x="-49643" y="2215620"/>
                  <a:pt x="26560" y="2025012"/>
                  <a:pt x="0" y="1800914"/>
                </a:cubicBezTo>
                <a:cubicBezTo>
                  <a:pt x="-26560" y="1576816"/>
                  <a:pt x="32594" y="1558009"/>
                  <a:pt x="0" y="1348976"/>
                </a:cubicBezTo>
                <a:cubicBezTo>
                  <a:pt x="-32594" y="1139943"/>
                  <a:pt x="78000" y="854396"/>
                  <a:pt x="0" y="566351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25310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rastructure As Code (</a:t>
            </a:r>
            <a:r>
              <a:rPr lang="en-US" dirty="0" err="1"/>
              <a:t>IaC</a:t>
            </a:r>
            <a:r>
              <a:rPr lang="en-US" dirty="0"/>
              <a:t>) via </a:t>
            </a:r>
            <a:r>
              <a:rPr lang="en-US" dirty="0" err="1"/>
              <a:t>GitOp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Takes proven coding practices to continuously deliver infrastructure, and software running on it rapidly and at scale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0AAB136-8414-6A21-03A5-A9548743C734}"/>
              </a:ext>
            </a:extLst>
          </p:cNvPr>
          <p:cNvSpPr txBox="1">
            <a:spLocks/>
          </p:cNvSpPr>
          <p:nvPr/>
        </p:nvSpPr>
        <p:spPr>
          <a:xfrm>
            <a:off x="1107687" y="4644482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Pros</a:t>
            </a:r>
          </a:p>
          <a:p>
            <a:pPr>
              <a:buFontTx/>
              <a:buChar char="-"/>
            </a:pPr>
            <a:endParaRPr lang="en-US" sz="2000" dirty="0"/>
          </a:p>
          <a:p>
            <a:pPr>
              <a:buFontTx/>
              <a:buChar char="-"/>
            </a:pPr>
            <a:r>
              <a:rPr lang="en-US" sz="2000" dirty="0"/>
              <a:t>Triggerable from other systems (UX)</a:t>
            </a:r>
          </a:p>
          <a:p>
            <a:pPr>
              <a:buFontTx/>
              <a:buChar char="-"/>
            </a:pPr>
            <a:endParaRPr lang="en-US" sz="2000" dirty="0"/>
          </a:p>
          <a:p>
            <a:pPr>
              <a:buFontTx/>
              <a:buChar char="-"/>
            </a:pPr>
            <a:endParaRPr lang="en-US" sz="200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EAB7573-B6B5-D04C-1A8F-E527D8F51F82}"/>
              </a:ext>
            </a:extLst>
          </p:cNvPr>
          <p:cNvSpPr txBox="1">
            <a:spLocks/>
          </p:cNvSpPr>
          <p:nvPr/>
        </p:nvSpPr>
        <p:spPr>
          <a:xfrm>
            <a:off x="8184243" y="4646341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Cons</a:t>
            </a:r>
          </a:p>
          <a:p>
            <a:pPr>
              <a:buFontTx/>
              <a:buChar char="-"/>
            </a:pPr>
            <a:r>
              <a:rPr lang="en-US" sz="2000" dirty="0"/>
              <a:t>Sub-optimal UX</a:t>
            </a:r>
          </a:p>
          <a:p>
            <a:pPr>
              <a:buFontTx/>
              <a:buChar char="-"/>
            </a:pPr>
            <a:r>
              <a:rPr lang="en-US" sz="2000" dirty="0"/>
              <a:t>Input errors</a:t>
            </a:r>
          </a:p>
          <a:p>
            <a:pPr>
              <a:buFontTx/>
              <a:buChar char="-"/>
            </a:pPr>
            <a:r>
              <a:rPr lang="en-US" sz="2000" dirty="0"/>
              <a:t>No change history</a:t>
            </a:r>
          </a:p>
          <a:p>
            <a:pPr>
              <a:buFontTx/>
              <a:buChar char="-"/>
            </a:pPr>
            <a:r>
              <a:rPr lang="en-US" sz="2000" dirty="0"/>
              <a:t>Single deployment identity masks the actor in azu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37035" y="2648860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2400" y="2447123"/>
            <a:ext cx="1963754" cy="196375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1F45828B-8F5C-FF73-3C4B-A998B8DAC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5965" y="2364959"/>
            <a:ext cx="1064041" cy="1064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037AAB4F-B00B-7F7E-8EB1-FE647FD652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619" y="2368998"/>
            <a:ext cx="809625" cy="933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3478140-8BE6-5525-DF07-9358650A627B}"/>
              </a:ext>
            </a:extLst>
          </p:cNvPr>
          <p:cNvSpPr/>
          <p:nvPr/>
        </p:nvSpPr>
        <p:spPr>
          <a:xfrm>
            <a:off x="4360333" y="2172900"/>
            <a:ext cx="3398039" cy="4439567"/>
          </a:xfrm>
          <a:custGeom>
            <a:avLst/>
            <a:gdLst>
              <a:gd name="connsiteX0" fmla="*/ 0 w 3398039"/>
              <a:gd name="connsiteY0" fmla="*/ 566351 h 4439567"/>
              <a:gd name="connsiteX1" fmla="*/ 566351 w 3398039"/>
              <a:gd name="connsiteY1" fmla="*/ 0 h 4439567"/>
              <a:gd name="connsiteX2" fmla="*/ 1177992 w 3398039"/>
              <a:gd name="connsiteY2" fmla="*/ 0 h 4439567"/>
              <a:gd name="connsiteX3" fmla="*/ 1721673 w 3398039"/>
              <a:gd name="connsiteY3" fmla="*/ 0 h 4439567"/>
              <a:gd name="connsiteX4" fmla="*/ 2242700 w 3398039"/>
              <a:gd name="connsiteY4" fmla="*/ 0 h 4439567"/>
              <a:gd name="connsiteX5" fmla="*/ 2831688 w 3398039"/>
              <a:gd name="connsiteY5" fmla="*/ 0 h 4439567"/>
              <a:gd name="connsiteX6" fmla="*/ 3398039 w 3398039"/>
              <a:gd name="connsiteY6" fmla="*/ 566351 h 4439567"/>
              <a:gd name="connsiteX7" fmla="*/ 3398039 w 3398039"/>
              <a:gd name="connsiteY7" fmla="*/ 1117495 h 4439567"/>
              <a:gd name="connsiteX8" fmla="*/ 3398039 w 3398039"/>
              <a:gd name="connsiteY8" fmla="*/ 1734777 h 4439567"/>
              <a:gd name="connsiteX9" fmla="*/ 3398039 w 3398039"/>
              <a:gd name="connsiteY9" fmla="*/ 2186715 h 4439567"/>
              <a:gd name="connsiteX10" fmla="*/ 3398039 w 3398039"/>
              <a:gd name="connsiteY10" fmla="*/ 2737859 h 4439567"/>
              <a:gd name="connsiteX11" fmla="*/ 3398039 w 3398039"/>
              <a:gd name="connsiteY11" fmla="*/ 3289003 h 4439567"/>
              <a:gd name="connsiteX12" fmla="*/ 3398039 w 3398039"/>
              <a:gd name="connsiteY12" fmla="*/ 3873216 h 4439567"/>
              <a:gd name="connsiteX13" fmla="*/ 2831688 w 3398039"/>
              <a:gd name="connsiteY13" fmla="*/ 4439567 h 4439567"/>
              <a:gd name="connsiteX14" fmla="*/ 2265354 w 3398039"/>
              <a:gd name="connsiteY14" fmla="*/ 4439567 h 4439567"/>
              <a:gd name="connsiteX15" fmla="*/ 1699020 w 3398039"/>
              <a:gd name="connsiteY15" fmla="*/ 4439567 h 4439567"/>
              <a:gd name="connsiteX16" fmla="*/ 1087379 w 3398039"/>
              <a:gd name="connsiteY16" fmla="*/ 4439567 h 4439567"/>
              <a:gd name="connsiteX17" fmla="*/ 566351 w 3398039"/>
              <a:gd name="connsiteY17" fmla="*/ 4439567 h 4439567"/>
              <a:gd name="connsiteX18" fmla="*/ 0 w 3398039"/>
              <a:gd name="connsiteY18" fmla="*/ 3873216 h 4439567"/>
              <a:gd name="connsiteX19" fmla="*/ 0 w 3398039"/>
              <a:gd name="connsiteY19" fmla="*/ 3388209 h 4439567"/>
              <a:gd name="connsiteX20" fmla="*/ 0 w 3398039"/>
              <a:gd name="connsiteY20" fmla="*/ 2837065 h 4439567"/>
              <a:gd name="connsiteX21" fmla="*/ 0 w 3398039"/>
              <a:gd name="connsiteY21" fmla="*/ 2352058 h 4439567"/>
              <a:gd name="connsiteX22" fmla="*/ 0 w 3398039"/>
              <a:gd name="connsiteY22" fmla="*/ 1800914 h 4439567"/>
              <a:gd name="connsiteX23" fmla="*/ 0 w 3398039"/>
              <a:gd name="connsiteY23" fmla="*/ 1348976 h 4439567"/>
              <a:gd name="connsiteX24" fmla="*/ 0 w 3398039"/>
              <a:gd name="connsiteY24" fmla="*/ 566351 h 4439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398039" h="4439567" extrusionOk="0">
                <a:moveTo>
                  <a:pt x="0" y="566351"/>
                </a:moveTo>
                <a:cubicBezTo>
                  <a:pt x="-76067" y="206644"/>
                  <a:pt x="231372" y="8329"/>
                  <a:pt x="566351" y="0"/>
                </a:cubicBezTo>
                <a:cubicBezTo>
                  <a:pt x="833844" y="-49535"/>
                  <a:pt x="953828" y="12370"/>
                  <a:pt x="1177992" y="0"/>
                </a:cubicBezTo>
                <a:cubicBezTo>
                  <a:pt x="1402156" y="-12370"/>
                  <a:pt x="1536539" y="227"/>
                  <a:pt x="1721673" y="0"/>
                </a:cubicBezTo>
                <a:cubicBezTo>
                  <a:pt x="1906807" y="-227"/>
                  <a:pt x="2042981" y="58393"/>
                  <a:pt x="2242700" y="0"/>
                </a:cubicBezTo>
                <a:cubicBezTo>
                  <a:pt x="2442419" y="-58393"/>
                  <a:pt x="2646582" y="42609"/>
                  <a:pt x="2831688" y="0"/>
                </a:cubicBezTo>
                <a:cubicBezTo>
                  <a:pt x="3168158" y="-48740"/>
                  <a:pt x="3377527" y="250423"/>
                  <a:pt x="3398039" y="566351"/>
                </a:cubicBezTo>
                <a:cubicBezTo>
                  <a:pt x="3401742" y="790470"/>
                  <a:pt x="3337830" y="917709"/>
                  <a:pt x="3398039" y="1117495"/>
                </a:cubicBezTo>
                <a:cubicBezTo>
                  <a:pt x="3458248" y="1317281"/>
                  <a:pt x="3340064" y="1594357"/>
                  <a:pt x="3398039" y="1734777"/>
                </a:cubicBezTo>
                <a:cubicBezTo>
                  <a:pt x="3456014" y="1875197"/>
                  <a:pt x="3350133" y="1977297"/>
                  <a:pt x="3398039" y="2186715"/>
                </a:cubicBezTo>
                <a:cubicBezTo>
                  <a:pt x="3445945" y="2396133"/>
                  <a:pt x="3394383" y="2582143"/>
                  <a:pt x="3398039" y="2737859"/>
                </a:cubicBezTo>
                <a:cubicBezTo>
                  <a:pt x="3401695" y="2893575"/>
                  <a:pt x="3351725" y="3036007"/>
                  <a:pt x="3398039" y="3289003"/>
                </a:cubicBezTo>
                <a:cubicBezTo>
                  <a:pt x="3444353" y="3541999"/>
                  <a:pt x="3345411" y="3709151"/>
                  <a:pt x="3398039" y="3873216"/>
                </a:cubicBezTo>
                <a:cubicBezTo>
                  <a:pt x="3406096" y="4195872"/>
                  <a:pt x="3153123" y="4431996"/>
                  <a:pt x="2831688" y="4439567"/>
                </a:cubicBezTo>
                <a:cubicBezTo>
                  <a:pt x="2637195" y="4458346"/>
                  <a:pt x="2413494" y="4425147"/>
                  <a:pt x="2265354" y="4439567"/>
                </a:cubicBezTo>
                <a:cubicBezTo>
                  <a:pt x="2117214" y="4453987"/>
                  <a:pt x="1847594" y="4380829"/>
                  <a:pt x="1699020" y="4439567"/>
                </a:cubicBezTo>
                <a:cubicBezTo>
                  <a:pt x="1550446" y="4498305"/>
                  <a:pt x="1286219" y="4413214"/>
                  <a:pt x="1087379" y="4439567"/>
                </a:cubicBezTo>
                <a:cubicBezTo>
                  <a:pt x="888539" y="4465920"/>
                  <a:pt x="811548" y="4381863"/>
                  <a:pt x="566351" y="4439567"/>
                </a:cubicBezTo>
                <a:cubicBezTo>
                  <a:pt x="224116" y="4492221"/>
                  <a:pt x="24832" y="4204455"/>
                  <a:pt x="0" y="3873216"/>
                </a:cubicBezTo>
                <a:cubicBezTo>
                  <a:pt x="-39502" y="3705931"/>
                  <a:pt x="51549" y="3570122"/>
                  <a:pt x="0" y="3388209"/>
                </a:cubicBezTo>
                <a:cubicBezTo>
                  <a:pt x="-51549" y="3206296"/>
                  <a:pt x="29796" y="2983906"/>
                  <a:pt x="0" y="2837065"/>
                </a:cubicBezTo>
                <a:cubicBezTo>
                  <a:pt x="-29796" y="2690224"/>
                  <a:pt x="49643" y="2488496"/>
                  <a:pt x="0" y="2352058"/>
                </a:cubicBezTo>
                <a:cubicBezTo>
                  <a:pt x="-49643" y="2215620"/>
                  <a:pt x="26560" y="2025012"/>
                  <a:pt x="0" y="1800914"/>
                </a:cubicBezTo>
                <a:cubicBezTo>
                  <a:pt x="-26560" y="1576816"/>
                  <a:pt x="32594" y="1558009"/>
                  <a:pt x="0" y="1348976"/>
                </a:cubicBezTo>
                <a:cubicBezTo>
                  <a:pt x="-32594" y="1139943"/>
                  <a:pt x="78000" y="854396"/>
                  <a:pt x="0" y="566351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20314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3puCAADTYTw7_AXZsvm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gUDTVFP9DJhd2ENdLY6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Egy2WGaKMRMxuq9KCA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r44agDtDiKB4hWkrC5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679</TotalTime>
  <Words>921</Words>
  <Application>Microsoft Office PowerPoint</Application>
  <PresentationFormat>Widescreen</PresentationFormat>
  <Paragraphs>274</Paragraphs>
  <Slides>2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3" baseType="lpstr">
      <vt:lpstr>Arial</vt:lpstr>
      <vt:lpstr>Calibri</vt:lpstr>
      <vt:lpstr>Calibri Light</vt:lpstr>
      <vt:lpstr>Segoe UI</vt:lpstr>
      <vt:lpstr>Office Theme</vt:lpstr>
      <vt:lpstr>think-cell Slide</vt:lpstr>
      <vt:lpstr>PowerPoint Presentation</vt:lpstr>
      <vt:lpstr>PowerPoint Presentation</vt:lpstr>
      <vt:lpstr>PowerPoint Presentation</vt:lpstr>
      <vt:lpstr>Expectations</vt:lpstr>
      <vt:lpstr>Infrastructure Management</vt:lpstr>
      <vt:lpstr>Infrastructure As Code (IaC) in practice</vt:lpstr>
      <vt:lpstr>But there are multiple IaC applications</vt:lpstr>
      <vt:lpstr>Infrastructure As Code (IaC) via Pipelines</vt:lpstr>
      <vt:lpstr>Infrastructure As Code (IaC) via GitOps</vt:lpstr>
      <vt:lpstr>Infrastructure As Code (IaC) via Catalog UI Forms</vt:lpstr>
      <vt:lpstr>Why Template Specs are the key piece of the puzzle</vt:lpstr>
      <vt:lpstr>Azure Template Specs</vt:lpstr>
      <vt:lpstr>What is Azure Template Spec</vt:lpstr>
      <vt:lpstr>What is Azure Template Custom UI</vt:lpstr>
      <vt:lpstr>Azure Template Specs UI structure</vt:lpstr>
      <vt:lpstr>Azure Template Specs UI elements</vt:lpstr>
      <vt:lpstr>Azure Template Specs UI calls to Azure</vt:lpstr>
      <vt:lpstr>Azure Template Specs UI calls to Entra Id</vt:lpstr>
      <vt:lpstr>Azure Template Specs UI Blades</vt:lpstr>
      <vt:lpstr>Azure Template Specs deployment options</vt:lpstr>
      <vt:lpstr>Azure Template Specs UI Pros</vt:lpstr>
      <vt:lpstr>Azure Template Specs UI Tabs</vt:lpstr>
      <vt:lpstr>Composition</vt:lpstr>
      <vt:lpstr>L1 - Bicep Modules</vt:lpstr>
      <vt:lpstr>L2 – Resource Template Specs</vt:lpstr>
      <vt:lpstr>L3 – Application Template Spec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wer Community; Raz Dynamics</dc:creator>
  <cp:lastModifiedBy>Georgi Ivanov</cp:lastModifiedBy>
  <cp:revision>187</cp:revision>
  <dcterms:created xsi:type="dcterms:W3CDTF">2020-10-26T06:25:39Z</dcterms:created>
  <dcterms:modified xsi:type="dcterms:W3CDTF">2024-09-26T20:22:10Z</dcterms:modified>
</cp:coreProperties>
</file>